
<file path=[Content_Types].xml><?xml version="1.0" encoding="utf-8"?>
<Types xmlns="http://schemas.openxmlformats.org/package/2006/content-types"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5"/>
  </p:notesMasterIdLst>
  <p:sldIdLst>
    <p:sldId id="350" r:id="rId2"/>
    <p:sldId id="1249" r:id="rId3"/>
    <p:sldId id="1262" r:id="rId4"/>
    <p:sldId id="1264" r:id="rId5"/>
    <p:sldId id="1263" r:id="rId6"/>
    <p:sldId id="1265" r:id="rId7"/>
    <p:sldId id="1267" r:id="rId8"/>
    <p:sldId id="1269" r:id="rId9"/>
    <p:sldId id="1270" r:id="rId10"/>
    <p:sldId id="1271" r:id="rId11"/>
    <p:sldId id="1076" r:id="rId12"/>
    <p:sldId id="396" r:id="rId13"/>
    <p:sldId id="1266" r:id="rId14"/>
  </p:sldIdLst>
  <p:sldSz cx="9144000" cy="5143500" type="screen16x9"/>
  <p:notesSz cx="6797675" cy="9926638"/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41E3435-653C-4E65-9E45-FA9B99732A03}" v="268" dt="2023-02-02T17:13:47.38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912" autoAdjust="0"/>
  </p:normalViewPr>
  <p:slideViewPr>
    <p:cSldViewPr snapToObjects="1">
      <p:cViewPr>
        <p:scale>
          <a:sx n="74" d="100"/>
          <a:sy n="74" d="100"/>
        </p:scale>
        <p:origin x="1084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8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ina Ru" userId="a298bcda0a73aae4" providerId="LiveId" clId="{541E3435-653C-4E65-9E45-FA9B99732A03}"/>
    <pc:docChg chg="undo custSel addSld delSld modSld sldOrd">
      <pc:chgData name="Stina Ru" userId="a298bcda0a73aae4" providerId="LiveId" clId="{541E3435-653C-4E65-9E45-FA9B99732A03}" dt="2023-02-02T17:21:00.482" v="6481" actId="113"/>
      <pc:docMkLst>
        <pc:docMk/>
      </pc:docMkLst>
      <pc:sldChg chg="modSp mod">
        <pc:chgData name="Stina Ru" userId="a298bcda0a73aae4" providerId="LiveId" clId="{541E3435-653C-4E65-9E45-FA9B99732A03}" dt="2023-01-24T22:29:01.703" v="3" actId="20577"/>
        <pc:sldMkLst>
          <pc:docMk/>
          <pc:sldMk cId="175173122" sldId="350"/>
        </pc:sldMkLst>
        <pc:spChg chg="mod">
          <ac:chgData name="Stina Ru" userId="a298bcda0a73aae4" providerId="LiveId" clId="{541E3435-653C-4E65-9E45-FA9B99732A03}" dt="2023-01-24T22:29:01.703" v="3" actId="20577"/>
          <ac:spMkLst>
            <pc:docMk/>
            <pc:sldMk cId="175173122" sldId="350"/>
            <ac:spMk id="2" creationId="{00000000-0000-0000-0000-000000000000}"/>
          </ac:spMkLst>
        </pc:spChg>
      </pc:sldChg>
      <pc:sldChg chg="modSp mod">
        <pc:chgData name="Stina Ru" userId="a298bcda0a73aae4" providerId="LiveId" clId="{541E3435-653C-4E65-9E45-FA9B99732A03}" dt="2023-02-02T17:21:00.482" v="6481" actId="113"/>
        <pc:sldMkLst>
          <pc:docMk/>
          <pc:sldMk cId="2456413679" sldId="396"/>
        </pc:sldMkLst>
        <pc:spChg chg="mod">
          <ac:chgData name="Stina Ru" userId="a298bcda0a73aae4" providerId="LiveId" clId="{541E3435-653C-4E65-9E45-FA9B99732A03}" dt="2023-02-02T17:21:00.482" v="6481" actId="113"/>
          <ac:spMkLst>
            <pc:docMk/>
            <pc:sldMk cId="2456413679" sldId="396"/>
            <ac:spMk id="9" creationId="{28CD78BF-FD21-4273-AC08-8CC747F9071D}"/>
          </ac:spMkLst>
        </pc:spChg>
      </pc:sldChg>
      <pc:sldChg chg="addSp modSp mod">
        <pc:chgData name="Stina Ru" userId="a298bcda0a73aae4" providerId="LiveId" clId="{541E3435-653C-4E65-9E45-FA9B99732A03}" dt="2023-01-25T17:02:27.493" v="5673" actId="1076"/>
        <pc:sldMkLst>
          <pc:docMk/>
          <pc:sldMk cId="504956703" sldId="1076"/>
        </pc:sldMkLst>
        <pc:spChg chg="mod">
          <ac:chgData name="Stina Ru" userId="a298bcda0a73aae4" providerId="LiveId" clId="{541E3435-653C-4E65-9E45-FA9B99732A03}" dt="2023-01-25T16:52:01.536" v="5030" actId="20577"/>
          <ac:spMkLst>
            <pc:docMk/>
            <pc:sldMk cId="504956703" sldId="1076"/>
            <ac:spMk id="2" creationId="{2E8E55A0-73B3-4565-BA58-ACE5F64229D6}"/>
          </ac:spMkLst>
        </pc:spChg>
        <pc:spChg chg="mod">
          <ac:chgData name="Stina Ru" userId="a298bcda0a73aae4" providerId="LiveId" clId="{541E3435-653C-4E65-9E45-FA9B99732A03}" dt="2023-01-25T17:01:08.015" v="5644" actId="21"/>
          <ac:spMkLst>
            <pc:docMk/>
            <pc:sldMk cId="504956703" sldId="1076"/>
            <ac:spMk id="3" creationId="{62E373E2-E479-4B85-B011-875D0EA60F4A}"/>
          </ac:spMkLst>
        </pc:spChg>
        <pc:spChg chg="add mod">
          <ac:chgData name="Stina Ru" userId="a298bcda0a73aae4" providerId="LiveId" clId="{541E3435-653C-4E65-9E45-FA9B99732A03}" dt="2023-01-25T17:02:27.493" v="5673" actId="1076"/>
          <ac:spMkLst>
            <pc:docMk/>
            <pc:sldMk cId="504956703" sldId="1076"/>
            <ac:spMk id="7" creationId="{DBA1B0BA-704F-24A7-B06E-BD752B00306F}"/>
          </ac:spMkLst>
        </pc:spChg>
      </pc:sldChg>
      <pc:sldChg chg="add del">
        <pc:chgData name="Stina Ru" userId="a298bcda0a73aae4" providerId="LiveId" clId="{541E3435-653C-4E65-9E45-FA9B99732A03}" dt="2023-01-25T15:19:00.026" v="1182" actId="47"/>
        <pc:sldMkLst>
          <pc:docMk/>
          <pc:sldMk cId="1103881341" sldId="1087"/>
        </pc:sldMkLst>
      </pc:sldChg>
      <pc:sldChg chg="del">
        <pc:chgData name="Stina Ru" userId="a298bcda0a73aae4" providerId="LiveId" clId="{541E3435-653C-4E65-9E45-FA9B99732A03}" dt="2023-01-25T16:54:45.194" v="5126" actId="47"/>
        <pc:sldMkLst>
          <pc:docMk/>
          <pc:sldMk cId="3022998504" sldId="1099"/>
        </pc:sldMkLst>
      </pc:sldChg>
      <pc:sldChg chg="del">
        <pc:chgData name="Stina Ru" userId="a298bcda0a73aae4" providerId="LiveId" clId="{541E3435-653C-4E65-9E45-FA9B99732A03}" dt="2023-01-24T22:28:58.476" v="0" actId="47"/>
        <pc:sldMkLst>
          <pc:docMk/>
          <pc:sldMk cId="767307316" sldId="1100"/>
        </pc:sldMkLst>
      </pc:sldChg>
      <pc:sldChg chg="addSp delSp modSp add del mod">
        <pc:chgData name="Stina Ru" userId="a298bcda0a73aae4" providerId="LiveId" clId="{541E3435-653C-4E65-9E45-FA9B99732A03}" dt="2023-01-25T16:54:48.082" v="5127" actId="47"/>
        <pc:sldMkLst>
          <pc:docMk/>
          <pc:sldMk cId="1725771670" sldId="1101"/>
        </pc:sldMkLst>
        <pc:graphicFrameChg chg="add del mod">
          <ac:chgData name="Stina Ru" userId="a298bcda0a73aae4" providerId="LiveId" clId="{541E3435-653C-4E65-9E45-FA9B99732A03}" dt="2023-01-25T15:43:54.150" v="2567" actId="21"/>
          <ac:graphicFrameMkLst>
            <pc:docMk/>
            <pc:sldMk cId="1725771670" sldId="1101"/>
            <ac:graphicFrameMk id="6" creationId="{672D9F22-E62E-AF67-ADD5-A54A4E7E1B9E}"/>
          </ac:graphicFrameMkLst>
        </pc:graphicFrameChg>
      </pc:sldChg>
      <pc:sldChg chg="del">
        <pc:chgData name="Stina Ru" userId="a298bcda0a73aae4" providerId="LiveId" clId="{541E3435-653C-4E65-9E45-FA9B99732A03}" dt="2023-01-25T16:54:43.517" v="5125" actId="47"/>
        <pc:sldMkLst>
          <pc:docMk/>
          <pc:sldMk cId="2128778417" sldId="1116"/>
        </pc:sldMkLst>
      </pc:sldChg>
      <pc:sldChg chg="del">
        <pc:chgData name="Stina Ru" userId="a298bcda0a73aae4" providerId="LiveId" clId="{541E3435-653C-4E65-9E45-FA9B99732A03}" dt="2023-01-25T16:51:26.036" v="5018" actId="47"/>
        <pc:sldMkLst>
          <pc:docMk/>
          <pc:sldMk cId="3151220454" sldId="1234"/>
        </pc:sldMkLst>
      </pc:sldChg>
      <pc:sldChg chg="delSp modSp mod ord modAnim">
        <pc:chgData name="Stina Ru" userId="a298bcda0a73aae4" providerId="LiveId" clId="{541E3435-653C-4E65-9E45-FA9B99732A03}" dt="2023-01-25T17:07:25.261" v="5819"/>
        <pc:sldMkLst>
          <pc:docMk/>
          <pc:sldMk cId="3865051706" sldId="1249"/>
        </pc:sldMkLst>
        <pc:spChg chg="mod">
          <ac:chgData name="Stina Ru" userId="a298bcda0a73aae4" providerId="LiveId" clId="{541E3435-653C-4E65-9E45-FA9B99732A03}" dt="2023-01-24T22:31:41.785" v="28" actId="20577"/>
          <ac:spMkLst>
            <pc:docMk/>
            <pc:sldMk cId="3865051706" sldId="1249"/>
            <ac:spMk id="2" creationId="{2E8E55A0-73B3-4565-BA58-ACE5F64229D6}"/>
          </ac:spMkLst>
        </pc:spChg>
        <pc:spChg chg="mod">
          <ac:chgData name="Stina Ru" userId="a298bcda0a73aae4" providerId="LiveId" clId="{541E3435-653C-4E65-9E45-FA9B99732A03}" dt="2023-01-25T11:42:52.560" v="663" actId="20577"/>
          <ac:spMkLst>
            <pc:docMk/>
            <pc:sldMk cId="3865051706" sldId="1249"/>
            <ac:spMk id="3" creationId="{62E373E2-E479-4B85-B011-875D0EA60F4A}"/>
          </ac:spMkLst>
        </pc:spChg>
        <pc:spChg chg="del">
          <ac:chgData name="Stina Ru" userId="a298bcda0a73aae4" providerId="LiveId" clId="{541E3435-653C-4E65-9E45-FA9B99732A03}" dt="2023-01-24T22:32:43.508" v="168" actId="478"/>
          <ac:spMkLst>
            <pc:docMk/>
            <pc:sldMk cId="3865051706" sldId="1249"/>
            <ac:spMk id="6" creationId="{8B959DBA-B667-FEF8-46BB-34E7DD3930C8}"/>
          </ac:spMkLst>
        </pc:spChg>
      </pc:sldChg>
      <pc:sldChg chg="del">
        <pc:chgData name="Stina Ru" userId="a298bcda0a73aae4" providerId="LiveId" clId="{541E3435-653C-4E65-9E45-FA9B99732A03}" dt="2023-01-25T16:51:21.116" v="5011" actId="47"/>
        <pc:sldMkLst>
          <pc:docMk/>
          <pc:sldMk cId="2429281051" sldId="1251"/>
        </pc:sldMkLst>
      </pc:sldChg>
      <pc:sldChg chg="modSp del mod">
        <pc:chgData name="Stina Ru" userId="a298bcda0a73aae4" providerId="LiveId" clId="{541E3435-653C-4E65-9E45-FA9B99732A03}" dt="2023-01-24T22:29:59.609" v="10" actId="47"/>
        <pc:sldMkLst>
          <pc:docMk/>
          <pc:sldMk cId="344158269" sldId="1252"/>
        </pc:sldMkLst>
        <pc:spChg chg="mod">
          <ac:chgData name="Stina Ru" userId="a298bcda0a73aae4" providerId="LiveId" clId="{541E3435-653C-4E65-9E45-FA9B99732A03}" dt="2023-01-24T22:29:06.028" v="8" actId="20577"/>
          <ac:spMkLst>
            <pc:docMk/>
            <pc:sldMk cId="344158269" sldId="1252"/>
            <ac:spMk id="2" creationId="{2E8E55A0-73B3-4565-BA58-ACE5F64229D6}"/>
          </ac:spMkLst>
        </pc:spChg>
      </pc:sldChg>
      <pc:sldChg chg="del">
        <pc:chgData name="Stina Ru" userId="a298bcda0a73aae4" providerId="LiveId" clId="{541E3435-653C-4E65-9E45-FA9B99732A03}" dt="2023-01-25T16:51:20.441" v="5010" actId="47"/>
        <pc:sldMkLst>
          <pc:docMk/>
          <pc:sldMk cId="2034130721" sldId="1253"/>
        </pc:sldMkLst>
      </pc:sldChg>
      <pc:sldChg chg="del">
        <pc:chgData name="Stina Ru" userId="a298bcda0a73aae4" providerId="LiveId" clId="{541E3435-653C-4E65-9E45-FA9B99732A03}" dt="2023-01-25T16:51:21.646" v="5012" actId="47"/>
        <pc:sldMkLst>
          <pc:docMk/>
          <pc:sldMk cId="1440379931" sldId="1254"/>
        </pc:sldMkLst>
      </pc:sldChg>
      <pc:sldChg chg="del">
        <pc:chgData name="Stina Ru" userId="a298bcda0a73aae4" providerId="LiveId" clId="{541E3435-653C-4E65-9E45-FA9B99732A03}" dt="2023-01-25T16:51:22.315" v="5013" actId="47"/>
        <pc:sldMkLst>
          <pc:docMk/>
          <pc:sldMk cId="1453273448" sldId="1255"/>
        </pc:sldMkLst>
      </pc:sldChg>
      <pc:sldChg chg="del">
        <pc:chgData name="Stina Ru" userId="a298bcda0a73aae4" providerId="LiveId" clId="{541E3435-653C-4E65-9E45-FA9B99732A03}" dt="2023-01-25T16:51:22.836" v="5014" actId="47"/>
        <pc:sldMkLst>
          <pc:docMk/>
          <pc:sldMk cId="3320322061" sldId="1256"/>
        </pc:sldMkLst>
      </pc:sldChg>
      <pc:sldChg chg="del">
        <pc:chgData name="Stina Ru" userId="a298bcda0a73aae4" providerId="LiveId" clId="{541E3435-653C-4E65-9E45-FA9B99732A03}" dt="2023-01-25T16:51:23.298" v="5015" actId="47"/>
        <pc:sldMkLst>
          <pc:docMk/>
          <pc:sldMk cId="2027586500" sldId="1257"/>
        </pc:sldMkLst>
      </pc:sldChg>
      <pc:sldChg chg="del">
        <pc:chgData name="Stina Ru" userId="a298bcda0a73aae4" providerId="LiveId" clId="{541E3435-653C-4E65-9E45-FA9B99732A03}" dt="2023-01-25T16:51:25.466" v="5017" actId="47"/>
        <pc:sldMkLst>
          <pc:docMk/>
          <pc:sldMk cId="1357657678" sldId="1258"/>
        </pc:sldMkLst>
      </pc:sldChg>
      <pc:sldChg chg="del">
        <pc:chgData name="Stina Ru" userId="a298bcda0a73aae4" providerId="LiveId" clId="{541E3435-653C-4E65-9E45-FA9B99732A03}" dt="2023-01-25T16:51:26.581" v="5019" actId="47"/>
        <pc:sldMkLst>
          <pc:docMk/>
          <pc:sldMk cId="3485801314" sldId="1259"/>
        </pc:sldMkLst>
      </pc:sldChg>
      <pc:sldChg chg="del">
        <pc:chgData name="Stina Ru" userId="a298bcda0a73aae4" providerId="LiveId" clId="{541E3435-653C-4E65-9E45-FA9B99732A03}" dt="2023-01-25T16:51:27.066" v="5020" actId="47"/>
        <pc:sldMkLst>
          <pc:docMk/>
          <pc:sldMk cId="920460716" sldId="1260"/>
        </pc:sldMkLst>
      </pc:sldChg>
      <pc:sldChg chg="del">
        <pc:chgData name="Stina Ru" userId="a298bcda0a73aae4" providerId="LiveId" clId="{541E3435-653C-4E65-9E45-FA9B99732A03}" dt="2023-01-25T16:51:24.265" v="5016" actId="47"/>
        <pc:sldMkLst>
          <pc:docMk/>
          <pc:sldMk cId="2797854532" sldId="1261"/>
        </pc:sldMkLst>
      </pc:sldChg>
      <pc:sldChg chg="del">
        <pc:chgData name="Stina Ru" userId="a298bcda0a73aae4" providerId="LiveId" clId="{541E3435-653C-4E65-9E45-FA9B99732A03}" dt="2023-01-24T22:28:58.993" v="1" actId="47"/>
        <pc:sldMkLst>
          <pc:docMk/>
          <pc:sldMk cId="22420036" sldId="1262"/>
        </pc:sldMkLst>
      </pc:sldChg>
      <pc:sldChg chg="modSp add mod modAnim">
        <pc:chgData name="Stina Ru" userId="a298bcda0a73aae4" providerId="LiveId" clId="{541E3435-653C-4E65-9E45-FA9B99732A03}" dt="2023-02-02T16:36:50.513" v="5825"/>
        <pc:sldMkLst>
          <pc:docMk/>
          <pc:sldMk cId="3879320207" sldId="1262"/>
        </pc:sldMkLst>
        <pc:spChg chg="mod">
          <ac:chgData name="Stina Ru" userId="a298bcda0a73aae4" providerId="LiveId" clId="{541E3435-653C-4E65-9E45-FA9B99732A03}" dt="2023-01-25T11:45:31.874" v="755" actId="113"/>
          <ac:spMkLst>
            <pc:docMk/>
            <pc:sldMk cId="3879320207" sldId="1262"/>
            <ac:spMk id="3" creationId="{62E373E2-E479-4B85-B011-875D0EA60F4A}"/>
          </ac:spMkLst>
        </pc:spChg>
      </pc:sldChg>
      <pc:sldChg chg="modSp add mod modAnim">
        <pc:chgData name="Stina Ru" userId="a298bcda0a73aae4" providerId="LiveId" clId="{541E3435-653C-4E65-9E45-FA9B99732A03}" dt="2023-02-02T16:48:12.986" v="6190" actId="20577"/>
        <pc:sldMkLst>
          <pc:docMk/>
          <pc:sldMk cId="3370177396" sldId="1263"/>
        </pc:sldMkLst>
        <pc:spChg chg="mod">
          <ac:chgData name="Stina Ru" userId="a298bcda0a73aae4" providerId="LiveId" clId="{541E3435-653C-4E65-9E45-FA9B99732A03}" dt="2023-02-02T16:48:12.986" v="6190" actId="20577"/>
          <ac:spMkLst>
            <pc:docMk/>
            <pc:sldMk cId="3370177396" sldId="1263"/>
            <ac:spMk id="3" creationId="{62E373E2-E479-4B85-B011-875D0EA60F4A}"/>
          </ac:spMkLst>
        </pc:spChg>
      </pc:sldChg>
      <pc:sldChg chg="modSp add mod ord modAnim">
        <pc:chgData name="Stina Ru" userId="a298bcda0a73aae4" providerId="LiveId" clId="{541E3435-653C-4E65-9E45-FA9B99732A03}" dt="2023-02-02T16:47:11.354" v="6180"/>
        <pc:sldMkLst>
          <pc:docMk/>
          <pc:sldMk cId="3482245250" sldId="1264"/>
        </pc:sldMkLst>
        <pc:spChg chg="mod">
          <ac:chgData name="Stina Ru" userId="a298bcda0a73aae4" providerId="LiveId" clId="{541E3435-653C-4E65-9E45-FA9B99732A03}" dt="2023-02-02T16:46:47.698" v="6176" actId="20577"/>
          <ac:spMkLst>
            <pc:docMk/>
            <pc:sldMk cId="3482245250" sldId="1264"/>
            <ac:spMk id="3" creationId="{62E373E2-E479-4B85-B011-875D0EA60F4A}"/>
          </ac:spMkLst>
        </pc:spChg>
      </pc:sldChg>
      <pc:sldChg chg="addSp modSp add mod">
        <pc:chgData name="Stina Ru" userId="a298bcda0a73aae4" providerId="LiveId" clId="{541E3435-653C-4E65-9E45-FA9B99732A03}" dt="2023-02-02T16:53:36.039" v="6227" actId="1076"/>
        <pc:sldMkLst>
          <pc:docMk/>
          <pc:sldMk cId="1050640101" sldId="1265"/>
        </pc:sldMkLst>
        <pc:spChg chg="mod">
          <ac:chgData name="Stina Ru" userId="a298bcda0a73aae4" providerId="LiveId" clId="{541E3435-653C-4E65-9E45-FA9B99732A03}" dt="2023-01-25T15:37:09.528" v="2001" actId="20577"/>
          <ac:spMkLst>
            <pc:docMk/>
            <pc:sldMk cId="1050640101" sldId="1265"/>
            <ac:spMk id="2" creationId="{2E8E55A0-73B3-4565-BA58-ACE5F64229D6}"/>
          </ac:spMkLst>
        </pc:spChg>
        <pc:spChg chg="mod">
          <ac:chgData name="Stina Ru" userId="a298bcda0a73aae4" providerId="LiveId" clId="{541E3435-653C-4E65-9E45-FA9B99732A03}" dt="2023-02-02T16:51:55.870" v="6192" actId="5793"/>
          <ac:spMkLst>
            <pc:docMk/>
            <pc:sldMk cId="1050640101" sldId="1265"/>
            <ac:spMk id="3" creationId="{62E373E2-E479-4B85-B011-875D0EA60F4A}"/>
          </ac:spMkLst>
        </pc:spChg>
        <pc:spChg chg="add mod">
          <ac:chgData name="Stina Ru" userId="a298bcda0a73aae4" providerId="LiveId" clId="{541E3435-653C-4E65-9E45-FA9B99732A03}" dt="2023-02-02T16:53:36.039" v="6227" actId="1076"/>
          <ac:spMkLst>
            <pc:docMk/>
            <pc:sldMk cId="1050640101" sldId="1265"/>
            <ac:spMk id="8" creationId="{595DAB94-1A7C-345A-3C15-B6477E05F178}"/>
          </ac:spMkLst>
        </pc:spChg>
        <pc:cxnChg chg="add mod">
          <ac:chgData name="Stina Ru" userId="a298bcda0a73aae4" providerId="LiveId" clId="{541E3435-653C-4E65-9E45-FA9B99732A03}" dt="2023-02-02T16:52:47.328" v="6196" actId="692"/>
          <ac:cxnSpMkLst>
            <pc:docMk/>
            <pc:sldMk cId="1050640101" sldId="1265"/>
            <ac:cxnSpMk id="7" creationId="{3619FDC4-1BF6-B097-17F0-8CDB5C09B2C6}"/>
          </ac:cxnSpMkLst>
        </pc:cxnChg>
      </pc:sldChg>
      <pc:sldChg chg="addSp modSp add mod ord">
        <pc:chgData name="Stina Ru" userId="a298bcda0a73aae4" providerId="LiveId" clId="{541E3435-653C-4E65-9E45-FA9B99732A03}" dt="2023-01-25T15:47:45.794" v="2733"/>
        <pc:sldMkLst>
          <pc:docMk/>
          <pc:sldMk cId="2615232942" sldId="1266"/>
        </pc:sldMkLst>
        <pc:spChg chg="mod">
          <ac:chgData name="Stina Ru" userId="a298bcda0a73aae4" providerId="LiveId" clId="{541E3435-653C-4E65-9E45-FA9B99732A03}" dt="2023-01-25T15:47:39.074" v="2731" actId="20577"/>
          <ac:spMkLst>
            <pc:docMk/>
            <pc:sldMk cId="2615232942" sldId="1266"/>
            <ac:spMk id="2" creationId="{2E8E55A0-73B3-4565-BA58-ACE5F64229D6}"/>
          </ac:spMkLst>
        </pc:spChg>
        <pc:spChg chg="mod">
          <ac:chgData name="Stina Ru" userId="a298bcda0a73aae4" providerId="LiveId" clId="{541E3435-653C-4E65-9E45-FA9B99732A03}" dt="2023-01-25T15:43:49.895" v="2566"/>
          <ac:spMkLst>
            <pc:docMk/>
            <pc:sldMk cId="2615232942" sldId="1266"/>
            <ac:spMk id="3" creationId="{62E373E2-E479-4B85-B011-875D0EA60F4A}"/>
          </ac:spMkLst>
        </pc:spChg>
        <pc:graphicFrameChg chg="add mod modGraphic">
          <ac:chgData name="Stina Ru" userId="a298bcda0a73aae4" providerId="LiveId" clId="{541E3435-653C-4E65-9E45-FA9B99732A03}" dt="2023-01-25T15:46:08.226" v="2720" actId="1076"/>
          <ac:graphicFrameMkLst>
            <pc:docMk/>
            <pc:sldMk cId="2615232942" sldId="1266"/>
            <ac:graphicFrameMk id="6" creationId="{B0F12EBF-99C2-F24A-44EC-F73709C17A54}"/>
          </ac:graphicFrameMkLst>
        </pc:graphicFrameChg>
      </pc:sldChg>
      <pc:sldChg chg="modSp add mod ord modAnim">
        <pc:chgData name="Stina Ru" userId="a298bcda0a73aae4" providerId="LiveId" clId="{541E3435-653C-4E65-9E45-FA9B99732A03}" dt="2023-02-02T17:01:16.221" v="6299"/>
        <pc:sldMkLst>
          <pc:docMk/>
          <pc:sldMk cId="3972893695" sldId="1267"/>
        </pc:sldMkLst>
        <pc:spChg chg="mod">
          <ac:chgData name="Stina Ru" userId="a298bcda0a73aae4" providerId="LiveId" clId="{541E3435-653C-4E65-9E45-FA9B99732A03}" dt="2023-02-02T16:59:57.085" v="6297" actId="20577"/>
          <ac:spMkLst>
            <pc:docMk/>
            <pc:sldMk cId="3972893695" sldId="1267"/>
            <ac:spMk id="3" creationId="{62E373E2-E479-4B85-B011-875D0EA60F4A}"/>
          </ac:spMkLst>
        </pc:spChg>
      </pc:sldChg>
      <pc:sldChg chg="modSp add del mod">
        <pc:chgData name="Stina Ru" userId="a298bcda0a73aae4" providerId="LiveId" clId="{541E3435-653C-4E65-9E45-FA9B99732A03}" dt="2023-01-25T16:54:50.661" v="5128" actId="47"/>
        <pc:sldMkLst>
          <pc:docMk/>
          <pc:sldMk cId="1360285436" sldId="1268"/>
        </pc:sldMkLst>
        <pc:spChg chg="mod">
          <ac:chgData name="Stina Ru" userId="a298bcda0a73aae4" providerId="LiveId" clId="{541E3435-653C-4E65-9E45-FA9B99732A03}" dt="2023-01-25T16:06:50.070" v="3492" actId="20577"/>
          <ac:spMkLst>
            <pc:docMk/>
            <pc:sldMk cId="1360285436" sldId="1268"/>
            <ac:spMk id="2" creationId="{2E8E55A0-73B3-4565-BA58-ACE5F64229D6}"/>
          </ac:spMkLst>
        </pc:spChg>
        <pc:spChg chg="mod">
          <ac:chgData name="Stina Ru" userId="a298bcda0a73aae4" providerId="LiveId" clId="{541E3435-653C-4E65-9E45-FA9B99732A03}" dt="2023-01-25T16:33:56.994" v="4398" actId="20577"/>
          <ac:spMkLst>
            <pc:docMk/>
            <pc:sldMk cId="1360285436" sldId="1268"/>
            <ac:spMk id="3" creationId="{62E373E2-E479-4B85-B011-875D0EA60F4A}"/>
          </ac:spMkLst>
        </pc:spChg>
      </pc:sldChg>
      <pc:sldChg chg="addSp modSp add mod ord modAnim">
        <pc:chgData name="Stina Ru" userId="a298bcda0a73aae4" providerId="LiveId" clId="{541E3435-653C-4E65-9E45-FA9B99732A03}" dt="2023-02-02T17:03:16.677" v="6403"/>
        <pc:sldMkLst>
          <pc:docMk/>
          <pc:sldMk cId="1944610247" sldId="1269"/>
        </pc:sldMkLst>
        <pc:spChg chg="mod">
          <ac:chgData name="Stina Ru" userId="a298bcda0a73aae4" providerId="LiveId" clId="{541E3435-653C-4E65-9E45-FA9B99732A03}" dt="2023-02-02T17:02:37.331" v="6380" actId="21"/>
          <ac:spMkLst>
            <pc:docMk/>
            <pc:sldMk cId="1944610247" sldId="1269"/>
            <ac:spMk id="3" creationId="{62E373E2-E479-4B85-B011-875D0EA60F4A}"/>
          </ac:spMkLst>
        </pc:spChg>
        <pc:spChg chg="add mod">
          <ac:chgData name="Stina Ru" userId="a298bcda0a73aae4" providerId="LiveId" clId="{541E3435-653C-4E65-9E45-FA9B99732A03}" dt="2023-02-02T17:03:01.024" v="6401" actId="1076"/>
          <ac:spMkLst>
            <pc:docMk/>
            <pc:sldMk cId="1944610247" sldId="1269"/>
            <ac:spMk id="6" creationId="{5877842E-763D-D620-23F8-DAC8B8998CF6}"/>
          </ac:spMkLst>
        </pc:spChg>
      </pc:sldChg>
      <pc:sldChg chg="addSp modSp add mod ord modAnim">
        <pc:chgData name="Stina Ru" userId="a298bcda0a73aae4" providerId="LiveId" clId="{541E3435-653C-4E65-9E45-FA9B99732A03}" dt="2023-02-02T17:04:46.183" v="6443" actId="255"/>
        <pc:sldMkLst>
          <pc:docMk/>
          <pc:sldMk cId="794992147" sldId="1270"/>
        </pc:sldMkLst>
        <pc:spChg chg="mod">
          <ac:chgData name="Stina Ru" userId="a298bcda0a73aae4" providerId="LiveId" clId="{541E3435-653C-4E65-9E45-FA9B99732A03}" dt="2023-02-02T17:04:46.183" v="6443" actId="255"/>
          <ac:spMkLst>
            <pc:docMk/>
            <pc:sldMk cId="794992147" sldId="1270"/>
            <ac:spMk id="3" creationId="{62E373E2-E479-4B85-B011-875D0EA60F4A}"/>
          </ac:spMkLst>
        </pc:spChg>
        <pc:spChg chg="add mod">
          <ac:chgData name="Stina Ru" userId="a298bcda0a73aae4" providerId="LiveId" clId="{541E3435-653C-4E65-9E45-FA9B99732A03}" dt="2023-01-25T17:04:11.930" v="5705" actId="1076"/>
          <ac:spMkLst>
            <pc:docMk/>
            <pc:sldMk cId="794992147" sldId="1270"/>
            <ac:spMk id="6" creationId="{0705DA2D-324F-629A-1E24-27E63153F26F}"/>
          </ac:spMkLst>
        </pc:spChg>
        <pc:cxnChg chg="add mod">
          <ac:chgData name="Stina Ru" userId="a298bcda0a73aae4" providerId="LiveId" clId="{541E3435-653C-4E65-9E45-FA9B99732A03}" dt="2023-01-25T17:04:14.205" v="5706" actId="14100"/>
          <ac:cxnSpMkLst>
            <pc:docMk/>
            <pc:sldMk cId="794992147" sldId="1270"/>
            <ac:cxnSpMk id="8" creationId="{C3721BDA-08ED-CBD0-DAC3-6A7FFF4576C5}"/>
          </ac:cxnSpMkLst>
        </pc:cxnChg>
        <pc:cxnChg chg="add mod">
          <ac:chgData name="Stina Ru" userId="a298bcda0a73aae4" providerId="LiveId" clId="{541E3435-653C-4E65-9E45-FA9B99732A03}" dt="2023-01-25T17:04:17.376" v="5707" actId="14100"/>
          <ac:cxnSpMkLst>
            <pc:docMk/>
            <pc:sldMk cId="794992147" sldId="1270"/>
            <ac:cxnSpMk id="9" creationId="{5E398439-5EDA-60F2-E4C2-9E766135523F}"/>
          </ac:cxnSpMkLst>
        </pc:cxnChg>
        <pc:cxnChg chg="add mod">
          <ac:chgData name="Stina Ru" userId="a298bcda0a73aae4" providerId="LiveId" clId="{541E3435-653C-4E65-9E45-FA9B99732A03}" dt="2023-01-25T17:04:08.526" v="5704" actId="1076"/>
          <ac:cxnSpMkLst>
            <pc:docMk/>
            <pc:sldMk cId="794992147" sldId="1270"/>
            <ac:cxnSpMk id="10" creationId="{3F375DAE-545B-E479-4D2C-33C28D744E01}"/>
          </ac:cxnSpMkLst>
        </pc:cxnChg>
      </pc:sldChg>
      <pc:sldChg chg="addSp delSp modSp add mod modAnim">
        <pc:chgData name="Stina Ru" userId="a298bcda0a73aae4" providerId="LiveId" clId="{541E3435-653C-4E65-9E45-FA9B99732A03}" dt="2023-02-02T17:15:50.010" v="6461" actId="20577"/>
        <pc:sldMkLst>
          <pc:docMk/>
          <pc:sldMk cId="1427102490" sldId="1271"/>
        </pc:sldMkLst>
        <pc:spChg chg="mod">
          <ac:chgData name="Stina Ru" userId="a298bcda0a73aae4" providerId="LiveId" clId="{541E3435-653C-4E65-9E45-FA9B99732A03}" dt="2023-01-25T16:58:12.387" v="5545" actId="20577"/>
          <ac:spMkLst>
            <pc:docMk/>
            <pc:sldMk cId="1427102490" sldId="1271"/>
            <ac:spMk id="2" creationId="{2E8E55A0-73B3-4565-BA58-ACE5F64229D6}"/>
          </ac:spMkLst>
        </pc:spChg>
        <pc:spChg chg="mod">
          <ac:chgData name="Stina Ru" userId="a298bcda0a73aae4" providerId="LiveId" clId="{541E3435-653C-4E65-9E45-FA9B99732A03}" dt="2023-02-02T17:13:47.365" v="6454" actId="113"/>
          <ac:spMkLst>
            <pc:docMk/>
            <pc:sldMk cId="1427102490" sldId="1271"/>
            <ac:spMk id="3" creationId="{62E373E2-E479-4B85-B011-875D0EA60F4A}"/>
          </ac:spMkLst>
        </pc:spChg>
        <pc:spChg chg="add mod">
          <ac:chgData name="Stina Ru" userId="a298bcda0a73aae4" providerId="LiveId" clId="{541E3435-653C-4E65-9E45-FA9B99732A03}" dt="2023-02-02T17:15:50.010" v="6461" actId="20577"/>
          <ac:spMkLst>
            <pc:docMk/>
            <pc:sldMk cId="1427102490" sldId="1271"/>
            <ac:spMk id="6" creationId="{D58054C7-D715-F9EC-00B5-0671C3294F32}"/>
          </ac:spMkLst>
        </pc:spChg>
        <pc:spChg chg="add del mod">
          <ac:chgData name="Stina Ru" userId="a298bcda0a73aae4" providerId="LiveId" clId="{541E3435-653C-4E65-9E45-FA9B99732A03}" dt="2023-01-25T17:01:28.387" v="5650" actId="478"/>
          <ac:spMkLst>
            <pc:docMk/>
            <pc:sldMk cId="1427102490" sldId="1271"/>
            <ac:spMk id="8" creationId="{A774B9D8-3D1B-387B-E489-98D797E42B89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5549" tIns="47775" rIns="95549" bIns="47775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5549" tIns="47775" rIns="95549" bIns="47775" rtlCol="0"/>
          <a:lstStyle>
            <a:lvl1pPr algn="r">
              <a:defRPr sz="1300"/>
            </a:lvl1pPr>
          </a:lstStyle>
          <a:p>
            <a:fld id="{0F2728AD-B8FF-467B-AF5F-4891412E46D0}" type="datetimeFigureOut">
              <a:rPr lang="de-DE" smtClean="0"/>
              <a:t>02.02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49" tIns="47775" rIns="95549" bIns="47775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5549" tIns="47775" rIns="95549" bIns="47775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586"/>
            <a:ext cx="2945659" cy="498055"/>
          </a:xfrm>
          <a:prstGeom prst="rect">
            <a:avLst/>
          </a:prstGeom>
        </p:spPr>
        <p:txBody>
          <a:bodyPr vert="horz" lIns="95549" tIns="47775" rIns="95549" bIns="47775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6"/>
            <a:ext cx="2945659" cy="498055"/>
          </a:xfrm>
          <a:prstGeom prst="rect">
            <a:avLst/>
          </a:prstGeom>
        </p:spPr>
        <p:txBody>
          <a:bodyPr vert="horz" lIns="95549" tIns="47775" rIns="95549" bIns="47775" rtlCol="0" anchor="b"/>
          <a:lstStyle>
            <a:lvl1pPr algn="r">
              <a:defRPr sz="1300"/>
            </a:lvl1pPr>
          </a:lstStyle>
          <a:p>
            <a:fld id="{B9A045E6-D734-4DB2-BEE5-DF972DD20CA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5023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061988-3118-414D-A571-26E5ECCCF074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77745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8000" y="4230000"/>
            <a:ext cx="7560000" cy="324000"/>
          </a:xfrm>
        </p:spPr>
        <p:txBody>
          <a:bodyPr/>
          <a:lstStyle>
            <a:lvl1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1pPr>
            <a:lvl2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2pPr>
            <a:lvl3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3pPr>
            <a:lvl4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4pPr>
            <a:lvl5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5pPr>
            <a:lvl6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6pPr>
            <a:lvl7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7pPr>
            <a:lvl8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8pPr>
            <a:lvl9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>
          <a:xfrm>
            <a:off x="468000" y="4680000"/>
            <a:ext cx="7560000" cy="144000"/>
          </a:xfrm>
        </p:spPr>
        <p:txBody>
          <a:bodyPr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0D81F06-1D47-4C44-8C29-89662B0E161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68000" y="3499200"/>
            <a:ext cx="2505600" cy="173898"/>
          </a:xfrm>
          <a:prstGeom prst="rect">
            <a:avLst/>
          </a:prstGeom>
        </p:spPr>
      </p:pic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84C7B36F-18FD-48F5-9A0D-FC40AEE68D0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-1"/>
            <a:ext cx="8182800" cy="3186000"/>
          </a:xfrm>
          <a:custGeom>
            <a:avLst/>
            <a:gdLst>
              <a:gd name="connsiteX0" fmla="*/ 0 w 8182800"/>
              <a:gd name="connsiteY0" fmla="*/ 0 h 3186000"/>
              <a:gd name="connsiteX1" fmla="*/ 8182800 w 8182800"/>
              <a:gd name="connsiteY1" fmla="*/ 0 h 3186000"/>
              <a:gd name="connsiteX2" fmla="*/ 8182800 w 8182800"/>
              <a:gd name="connsiteY2" fmla="*/ 1 h 3186000"/>
              <a:gd name="connsiteX3" fmla="*/ 7225201 w 8182800"/>
              <a:gd name="connsiteY3" fmla="*/ 1 h 3186000"/>
              <a:gd name="connsiteX4" fmla="*/ 7225201 w 8182800"/>
              <a:gd name="connsiteY4" fmla="*/ 1440001 h 3186000"/>
              <a:gd name="connsiteX5" fmla="*/ 8182800 w 8182800"/>
              <a:gd name="connsiteY5" fmla="*/ 1440001 h 3186000"/>
              <a:gd name="connsiteX6" fmla="*/ 8182800 w 8182800"/>
              <a:gd name="connsiteY6" fmla="*/ 3186000 h 3186000"/>
              <a:gd name="connsiteX7" fmla="*/ 0 w 8182800"/>
              <a:gd name="connsiteY7" fmla="*/ 3186000 h 318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182800" h="3186000">
                <a:moveTo>
                  <a:pt x="0" y="0"/>
                </a:moveTo>
                <a:lnTo>
                  <a:pt x="8182800" y="0"/>
                </a:lnTo>
                <a:lnTo>
                  <a:pt x="8182800" y="1"/>
                </a:lnTo>
                <a:lnTo>
                  <a:pt x="7225201" y="1"/>
                </a:lnTo>
                <a:lnTo>
                  <a:pt x="7225201" y="1440001"/>
                </a:lnTo>
                <a:lnTo>
                  <a:pt x="8182800" y="1440001"/>
                </a:lnTo>
                <a:lnTo>
                  <a:pt x="8182800" y="3186000"/>
                </a:lnTo>
                <a:lnTo>
                  <a:pt x="0" y="3186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C28E9FB3-DC3C-4E55-9877-2DEEAAB3290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25200" y="0"/>
            <a:ext cx="1440362" cy="1440000"/>
          </a:xfrm>
          <a:prstGeom prst="rect">
            <a:avLst/>
          </a:prstGeom>
        </p:spPr>
      </p:pic>
      <p:sp>
        <p:nvSpPr>
          <p:cNvPr id="23" name="Titel 22">
            <a:extLst>
              <a:ext uri="{FF2B5EF4-FFF2-40B4-BE49-F238E27FC236}">
                <a16:creationId xmlns:a16="http://schemas.microsoft.com/office/drawing/2014/main" id="{259FB325-4F00-4E24-9BB5-CBE59A8EE6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3895200"/>
            <a:ext cx="3527936" cy="324000"/>
          </a:xfrm>
        </p:spPr>
        <p:txBody>
          <a:bodyPr/>
          <a:lstStyle>
            <a:lvl1pPr>
              <a:lnSpc>
                <a:spcPts val="2500"/>
              </a:lnSpc>
              <a:defRPr cap="all" baseline="0"/>
            </a:lvl1pPr>
          </a:lstStyle>
          <a:p>
            <a:pPr lvl="0"/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EA11C8C5-D6EB-4C5D-9539-1ADEFC0908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77199" y="3895200"/>
            <a:ext cx="2505600" cy="324000"/>
          </a:xfrm>
        </p:spPr>
        <p:txBody>
          <a:bodyPr anchor="ctr" anchorCtr="0"/>
          <a:lstStyle>
            <a:lvl1pPr algn="ctr">
              <a:defRPr sz="1050"/>
            </a:lvl1pPr>
          </a:lstStyle>
          <a:p>
            <a:r>
              <a:rPr lang="de-DE" dirty="0"/>
              <a:t>Logo auf Platzhalter ziehen</a:t>
            </a:r>
          </a:p>
        </p:txBody>
      </p:sp>
    </p:spTree>
    <p:extLst>
      <p:ext uri="{BB962C8B-B14F-4D97-AF65-F5344CB8AC3E}">
        <p14:creationId xmlns:p14="http://schemas.microsoft.com/office/powerpoint/2010/main" val="7225862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inkl.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8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97D7879-BA70-4DD0-99E9-74C1A1FA34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B422CC4-3EFE-4A06-B194-FAB2C24ECED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C3B07E-B021-4B5C-9450-33EDD58444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// für weitere Ebenen (Text) 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8" name="Bildplatzhalter 6">
            <a:extLst>
              <a:ext uri="{FF2B5EF4-FFF2-40B4-BE49-F238E27FC236}">
                <a16:creationId xmlns:a16="http://schemas.microsoft.com/office/drawing/2014/main" id="{CFABEA7C-7103-4FAC-AAB1-B8FF0684867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80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9CA26BD8-E4CD-4A9F-ACC0-895F1FD2744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// für weitere Ebenen (Text) 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0B3784F-BC20-4A45-986C-728B00F596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</p:spTree>
    <p:extLst>
      <p:ext uri="{BB962C8B-B14F-4D97-AF65-F5344CB8AC3E}">
        <p14:creationId xmlns:p14="http://schemas.microsoft.com/office/powerpoint/2010/main" val="42622507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>
          <p15:clr>
            <a:srgbClr val="FBAE40"/>
          </p15:clr>
        </p15:guide>
        <p15:guide id="3" orient="horz" pos="596" userDrawn="1">
          <p15:clr>
            <a:srgbClr val="FBAE40"/>
          </p15:clr>
        </p15:guide>
        <p15:guide id="4" orient="horz" pos="2269" userDrawn="1">
          <p15:clr>
            <a:srgbClr val="FBAE40"/>
          </p15:clr>
        </p15:guide>
        <p15:guide id="5" pos="2790">
          <p15:clr>
            <a:srgbClr val="FBAE40"/>
          </p15:clr>
        </p15:guide>
        <p15:guide id="6" pos="544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000" y="918000"/>
            <a:ext cx="324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04000" y="954000"/>
            <a:ext cx="4536000" cy="3024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4119991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83" userDrawn="1">
          <p15:clr>
            <a:srgbClr val="FBAE40"/>
          </p15:clr>
        </p15:guide>
        <p15:guide id="2" pos="5444" userDrawn="1">
          <p15:clr>
            <a:srgbClr val="FBAE40"/>
          </p15:clr>
        </p15:guide>
        <p15:guide id="3" orient="horz" pos="596" userDrawn="1">
          <p15:clr>
            <a:srgbClr val="FBAE40"/>
          </p15:clr>
        </p15:guide>
        <p15:guide id="4" orient="horz" pos="250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 inkl. Bildunter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000" y="918000"/>
            <a:ext cx="4104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80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E8C92916-9C2D-4160-84A7-92C7AE8CF3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// für weitere Ebenen (Text)  &gt;&gt; Menü &gt; Start &gt; Absatz &gt; Listenebene erhöhen </a:t>
            </a:r>
          </a:p>
          <a:p>
            <a:pPr lvl="0"/>
            <a:endParaRPr lang="de-DE" dirty="0"/>
          </a:p>
          <a:p>
            <a:pPr lvl="1"/>
            <a:r>
              <a:rPr lang="de-DE" dirty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35871941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 userDrawn="1">
          <p15:clr>
            <a:srgbClr val="FBAE40"/>
          </p15:clr>
        </p15:guide>
        <p15:guide id="2" pos="5444" userDrawn="1">
          <p15:clr>
            <a:srgbClr val="FBAE40"/>
          </p15:clr>
        </p15:guide>
        <p15:guide id="3" orient="horz" pos="596" userDrawn="1">
          <p15:clr>
            <a:srgbClr val="FBAE40"/>
          </p15:clr>
        </p15:guide>
        <p15:guide id="4" orient="horz" pos="2269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Bild inkl. Bildunterzeile 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220000" y="918000"/>
            <a:ext cx="342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8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E8C92916-9C2D-4160-84A7-92C7AE8CF3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// für weitere Ebenen (Text)  &gt;&gt; Menü &gt; Start &gt; Absatz &gt; Listenebene erhöhen </a:t>
            </a:r>
          </a:p>
          <a:p>
            <a:pPr lvl="0"/>
            <a:endParaRPr lang="de-DE" dirty="0"/>
          </a:p>
          <a:p>
            <a:pPr lvl="1"/>
            <a:r>
              <a:rPr lang="de-DE" dirty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413746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>
          <p15:clr>
            <a:srgbClr val="FBAE40"/>
          </p15:clr>
        </p15:guide>
        <p15:guide id="2" pos="5444">
          <p15:clr>
            <a:srgbClr val="FBAE40"/>
          </p15:clr>
        </p15:guide>
        <p15:guide id="3" orient="horz" pos="596">
          <p15:clr>
            <a:srgbClr val="FBAE40"/>
          </p15:clr>
        </p15:guide>
        <p15:guide id="4" orient="horz" pos="226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000" y="918000"/>
            <a:ext cx="540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80000" y="954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73CCF540-0E4F-47A6-981D-1A856FBCB4E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80000" y="2628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456241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77" userDrawn="1">
          <p15:clr>
            <a:srgbClr val="FBAE40"/>
          </p15:clr>
        </p15:guide>
        <p15:guide id="2" pos="5444">
          <p15:clr>
            <a:srgbClr val="FBAE40"/>
          </p15:clr>
        </p15:guide>
        <p15:guide id="3" orient="horz" pos="596">
          <p15:clr>
            <a:srgbClr val="FBAE40"/>
          </p15:clr>
        </p15:guide>
        <p15:guide id="4" orient="horz" pos="1653" userDrawn="1">
          <p15:clr>
            <a:srgbClr val="FBAE40"/>
          </p15:clr>
        </p15:guide>
        <p15:guide id="5" orient="horz" pos="2564" userDrawn="1">
          <p15:clr>
            <a:srgbClr val="FBAE40"/>
          </p15:clr>
        </p15:guide>
        <p15:guide id="6" orient="horz" pos="1513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2 Bilder 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40000" y="918000"/>
            <a:ext cx="540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8000" y="954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73CCF540-0E4F-47A6-981D-1A856FBCB4E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8000" y="2628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9870102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58" userDrawn="1">
          <p15:clr>
            <a:srgbClr val="FBAE40"/>
          </p15:clr>
        </p15:guide>
        <p15:guide id="2" pos="5444">
          <p15:clr>
            <a:srgbClr val="FBAE40"/>
          </p15:clr>
        </p15:guide>
        <p15:guide id="3" orient="horz" pos="596">
          <p15:clr>
            <a:srgbClr val="FBAE40"/>
          </p15:clr>
        </p15:guide>
        <p15:guide id="4" orient="horz" pos="1653">
          <p15:clr>
            <a:srgbClr val="FBAE40"/>
          </p15:clr>
        </p15:guide>
        <p15:guide id="5" orient="horz" pos="2564">
          <p15:clr>
            <a:srgbClr val="FBAE40"/>
          </p15:clr>
        </p15:guide>
        <p15:guide id="6" orient="horz" pos="1513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EINFÜG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62F6D41-300A-44A6-A773-F84C7424CD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5674647-E98A-4E91-B769-603FBD38FC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36340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E7FEC2D-DBFC-481D-89EF-55316F02D4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BC5583F-31A1-412C-900F-41106AD784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817796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Vorstellun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0912" y="0"/>
            <a:ext cx="2830680" cy="1698408"/>
          </a:xfrm>
          <a:prstGeom prst="rect">
            <a:avLst/>
          </a:prstGeom>
        </p:spPr>
      </p:pic>
      <p:sp>
        <p:nvSpPr>
          <p:cNvPr id="8" name="Bildplatzhalter 11"/>
          <p:cNvSpPr>
            <a:spLocks noGrp="1"/>
          </p:cNvSpPr>
          <p:nvPr>
            <p:ph type="pic" sz="quarter" idx="10"/>
          </p:nvPr>
        </p:nvSpPr>
        <p:spPr>
          <a:xfrm>
            <a:off x="-4834" y="-2989"/>
            <a:ext cx="9148810" cy="5148352"/>
          </a:xfrm>
          <a:custGeom>
            <a:avLst/>
            <a:gdLst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4500 w 8064500"/>
              <a:gd name="connsiteY2" fmla="*/ 4038600 h 4038600"/>
              <a:gd name="connsiteX3" fmla="*/ 0 w 8064500"/>
              <a:gd name="connsiteY3" fmla="*/ 4038600 h 4038600"/>
              <a:gd name="connsiteX4" fmla="*/ 0 w 8064500"/>
              <a:gd name="connsiteY4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2913 w 8064500"/>
              <a:gd name="connsiteY2" fmla="*/ 1719263 h 4038600"/>
              <a:gd name="connsiteX3" fmla="*/ 8064500 w 8064500"/>
              <a:gd name="connsiteY3" fmla="*/ 4038600 h 4038600"/>
              <a:gd name="connsiteX4" fmla="*/ 0 w 8064500"/>
              <a:gd name="connsiteY4" fmla="*/ 4038600 h 4038600"/>
              <a:gd name="connsiteX5" fmla="*/ 0 w 8064500"/>
              <a:gd name="connsiteY5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2913 w 8064500"/>
              <a:gd name="connsiteY2" fmla="*/ 1221581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6669882 w 8064500"/>
              <a:gd name="connsiteY2" fmla="*/ 1909762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6256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8637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8637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24025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81775 w 8146275"/>
              <a:gd name="connsiteY0" fmla="*/ 0 h 4038600"/>
              <a:gd name="connsiteX1" fmla="*/ 6960412 w 8146275"/>
              <a:gd name="connsiteY1" fmla="*/ 0 h 4038600"/>
              <a:gd name="connsiteX2" fmla="*/ 6963588 w 8146275"/>
              <a:gd name="connsiteY2" fmla="*/ 1724025 h 4038600"/>
              <a:gd name="connsiteX3" fmla="*/ 8144688 w 8146275"/>
              <a:gd name="connsiteY3" fmla="*/ 1724025 h 4038600"/>
              <a:gd name="connsiteX4" fmla="*/ 8146275 w 8146275"/>
              <a:gd name="connsiteY4" fmla="*/ 4038600 h 4038600"/>
              <a:gd name="connsiteX5" fmla="*/ 0 w 8146275"/>
              <a:gd name="connsiteY5" fmla="*/ 4038600 h 4038600"/>
              <a:gd name="connsiteX6" fmla="*/ 81775 w 8146275"/>
              <a:gd name="connsiteY6" fmla="*/ 0 h 4038600"/>
              <a:gd name="connsiteX0" fmla="*/ 0 w 8146276"/>
              <a:gd name="connsiteY0" fmla="*/ 0 h 4046034"/>
              <a:gd name="connsiteX1" fmla="*/ 6960413 w 8146276"/>
              <a:gd name="connsiteY1" fmla="*/ 7434 h 4046034"/>
              <a:gd name="connsiteX2" fmla="*/ 6963589 w 8146276"/>
              <a:gd name="connsiteY2" fmla="*/ 1731459 h 4046034"/>
              <a:gd name="connsiteX3" fmla="*/ 8144689 w 8146276"/>
              <a:gd name="connsiteY3" fmla="*/ 1731459 h 4046034"/>
              <a:gd name="connsiteX4" fmla="*/ 8146276 w 8146276"/>
              <a:gd name="connsiteY4" fmla="*/ 4046034 h 4046034"/>
              <a:gd name="connsiteX5" fmla="*/ 1 w 8146276"/>
              <a:gd name="connsiteY5" fmla="*/ 4046034 h 4046034"/>
              <a:gd name="connsiteX6" fmla="*/ 0 w 8146276"/>
              <a:gd name="connsiteY6" fmla="*/ 0 h 4046034"/>
              <a:gd name="connsiteX0" fmla="*/ 9524 w 8155800"/>
              <a:gd name="connsiteY0" fmla="*/ 0 h 6093909"/>
              <a:gd name="connsiteX1" fmla="*/ 6969937 w 8155800"/>
              <a:gd name="connsiteY1" fmla="*/ 7434 h 6093909"/>
              <a:gd name="connsiteX2" fmla="*/ 6973113 w 8155800"/>
              <a:gd name="connsiteY2" fmla="*/ 1731459 h 6093909"/>
              <a:gd name="connsiteX3" fmla="*/ 8154213 w 8155800"/>
              <a:gd name="connsiteY3" fmla="*/ 1731459 h 6093909"/>
              <a:gd name="connsiteX4" fmla="*/ 8155800 w 8155800"/>
              <a:gd name="connsiteY4" fmla="*/ 4046034 h 6093909"/>
              <a:gd name="connsiteX5" fmla="*/ 0 w 8155800"/>
              <a:gd name="connsiteY5" fmla="*/ 6093909 h 6093909"/>
              <a:gd name="connsiteX6" fmla="*/ 9524 w 8155800"/>
              <a:gd name="connsiteY6" fmla="*/ 0 h 6093909"/>
              <a:gd name="connsiteX0" fmla="*/ 9524 w 8165325"/>
              <a:gd name="connsiteY0" fmla="*/ 0 h 6103434"/>
              <a:gd name="connsiteX1" fmla="*/ 6969937 w 8165325"/>
              <a:gd name="connsiteY1" fmla="*/ 7434 h 6103434"/>
              <a:gd name="connsiteX2" fmla="*/ 6973113 w 8165325"/>
              <a:gd name="connsiteY2" fmla="*/ 1731459 h 6103434"/>
              <a:gd name="connsiteX3" fmla="*/ 8154213 w 8165325"/>
              <a:gd name="connsiteY3" fmla="*/ 1731459 h 6103434"/>
              <a:gd name="connsiteX4" fmla="*/ 8165325 w 8165325"/>
              <a:gd name="connsiteY4" fmla="*/ 6103434 h 6103434"/>
              <a:gd name="connsiteX5" fmla="*/ 0 w 8165325"/>
              <a:gd name="connsiteY5" fmla="*/ 6093909 h 6103434"/>
              <a:gd name="connsiteX6" fmla="*/ 9524 w 8165325"/>
              <a:gd name="connsiteY6" fmla="*/ 0 h 6103434"/>
              <a:gd name="connsiteX0" fmla="*/ 9524 w 8694213"/>
              <a:gd name="connsiteY0" fmla="*/ 0 h 6103434"/>
              <a:gd name="connsiteX1" fmla="*/ 6969937 w 8694213"/>
              <a:gd name="connsiteY1" fmla="*/ 7434 h 6103434"/>
              <a:gd name="connsiteX2" fmla="*/ 6973113 w 8694213"/>
              <a:gd name="connsiteY2" fmla="*/ 1731459 h 6103434"/>
              <a:gd name="connsiteX3" fmla="*/ 8694213 w 8694213"/>
              <a:gd name="connsiteY3" fmla="*/ 1731459 h 6103434"/>
              <a:gd name="connsiteX4" fmla="*/ 8165325 w 8694213"/>
              <a:gd name="connsiteY4" fmla="*/ 6103434 h 6103434"/>
              <a:gd name="connsiteX5" fmla="*/ 0 w 8694213"/>
              <a:gd name="connsiteY5" fmla="*/ 6093909 h 6103434"/>
              <a:gd name="connsiteX6" fmla="*/ 9524 w 8694213"/>
              <a:gd name="connsiteY6" fmla="*/ 0 h 6103434"/>
              <a:gd name="connsiteX0" fmla="*/ 9524 w 8891427"/>
              <a:gd name="connsiteY0" fmla="*/ 0 h 6103434"/>
              <a:gd name="connsiteX1" fmla="*/ 6969937 w 8891427"/>
              <a:gd name="connsiteY1" fmla="*/ 7434 h 6103434"/>
              <a:gd name="connsiteX2" fmla="*/ 6973113 w 8891427"/>
              <a:gd name="connsiteY2" fmla="*/ 1731459 h 6103434"/>
              <a:gd name="connsiteX3" fmla="*/ 8694213 w 8891427"/>
              <a:gd name="connsiteY3" fmla="*/ 1731459 h 6103434"/>
              <a:gd name="connsiteX4" fmla="*/ 8889495 w 8891427"/>
              <a:gd name="connsiteY4" fmla="*/ 597833 h 6103434"/>
              <a:gd name="connsiteX5" fmla="*/ 8165325 w 8891427"/>
              <a:gd name="connsiteY5" fmla="*/ 6103434 h 6103434"/>
              <a:gd name="connsiteX6" fmla="*/ 0 w 8891427"/>
              <a:gd name="connsiteY6" fmla="*/ 6093909 h 6103434"/>
              <a:gd name="connsiteX7" fmla="*/ 9524 w 8891427"/>
              <a:gd name="connsiteY7" fmla="*/ 0 h 6103434"/>
              <a:gd name="connsiteX0" fmla="*/ 9524 w 8929879"/>
              <a:gd name="connsiteY0" fmla="*/ 0 h 6103434"/>
              <a:gd name="connsiteX1" fmla="*/ 6969937 w 8929879"/>
              <a:gd name="connsiteY1" fmla="*/ 7434 h 6103434"/>
              <a:gd name="connsiteX2" fmla="*/ 6973113 w 8929879"/>
              <a:gd name="connsiteY2" fmla="*/ 1731459 h 6103434"/>
              <a:gd name="connsiteX3" fmla="*/ 8694213 w 8929879"/>
              <a:gd name="connsiteY3" fmla="*/ 1731459 h 6103434"/>
              <a:gd name="connsiteX4" fmla="*/ 8889495 w 8929879"/>
              <a:gd name="connsiteY4" fmla="*/ 597833 h 6103434"/>
              <a:gd name="connsiteX5" fmla="*/ 8165325 w 8929879"/>
              <a:gd name="connsiteY5" fmla="*/ 6103434 h 6103434"/>
              <a:gd name="connsiteX6" fmla="*/ 0 w 8929879"/>
              <a:gd name="connsiteY6" fmla="*/ 6093909 h 6103434"/>
              <a:gd name="connsiteX7" fmla="*/ 9524 w 8929879"/>
              <a:gd name="connsiteY7" fmla="*/ 0 h 6103434"/>
              <a:gd name="connsiteX0" fmla="*/ 9524 w 8954130"/>
              <a:gd name="connsiteY0" fmla="*/ 0 h 6103434"/>
              <a:gd name="connsiteX1" fmla="*/ 6969937 w 8954130"/>
              <a:gd name="connsiteY1" fmla="*/ 7434 h 6103434"/>
              <a:gd name="connsiteX2" fmla="*/ 6973113 w 8954130"/>
              <a:gd name="connsiteY2" fmla="*/ 1731459 h 6103434"/>
              <a:gd name="connsiteX3" fmla="*/ 8694213 w 8954130"/>
              <a:gd name="connsiteY3" fmla="*/ 1731459 h 6103434"/>
              <a:gd name="connsiteX4" fmla="*/ 8889495 w 8954130"/>
              <a:gd name="connsiteY4" fmla="*/ 597833 h 6103434"/>
              <a:gd name="connsiteX5" fmla="*/ 8165325 w 8954130"/>
              <a:gd name="connsiteY5" fmla="*/ 6103434 h 6103434"/>
              <a:gd name="connsiteX6" fmla="*/ 0 w 8954130"/>
              <a:gd name="connsiteY6" fmla="*/ 6093909 h 6103434"/>
              <a:gd name="connsiteX7" fmla="*/ 9524 w 8954130"/>
              <a:gd name="connsiteY7" fmla="*/ 0 h 6103434"/>
              <a:gd name="connsiteX0" fmla="*/ 9524 w 8889495"/>
              <a:gd name="connsiteY0" fmla="*/ 0 h 6103434"/>
              <a:gd name="connsiteX1" fmla="*/ 6969937 w 8889495"/>
              <a:gd name="connsiteY1" fmla="*/ 7434 h 6103434"/>
              <a:gd name="connsiteX2" fmla="*/ 6973113 w 8889495"/>
              <a:gd name="connsiteY2" fmla="*/ 1731459 h 6103434"/>
              <a:gd name="connsiteX3" fmla="*/ 8694213 w 8889495"/>
              <a:gd name="connsiteY3" fmla="*/ 1731459 h 6103434"/>
              <a:gd name="connsiteX4" fmla="*/ 8889495 w 8889495"/>
              <a:gd name="connsiteY4" fmla="*/ 597833 h 6103434"/>
              <a:gd name="connsiteX5" fmla="*/ 8165325 w 8889495"/>
              <a:gd name="connsiteY5" fmla="*/ 6103434 h 6103434"/>
              <a:gd name="connsiteX6" fmla="*/ 0 w 8889495"/>
              <a:gd name="connsiteY6" fmla="*/ 6093909 h 6103434"/>
              <a:gd name="connsiteX7" fmla="*/ 9524 w 8889495"/>
              <a:gd name="connsiteY7" fmla="*/ 0 h 6103434"/>
              <a:gd name="connsiteX0" fmla="*/ 9524 w 8914544"/>
              <a:gd name="connsiteY0" fmla="*/ 0 h 6103434"/>
              <a:gd name="connsiteX1" fmla="*/ 6969937 w 8914544"/>
              <a:gd name="connsiteY1" fmla="*/ 7434 h 6103434"/>
              <a:gd name="connsiteX2" fmla="*/ 6973113 w 8914544"/>
              <a:gd name="connsiteY2" fmla="*/ 1731459 h 6103434"/>
              <a:gd name="connsiteX3" fmla="*/ 8694213 w 8914544"/>
              <a:gd name="connsiteY3" fmla="*/ 1731459 h 6103434"/>
              <a:gd name="connsiteX4" fmla="*/ 8889495 w 8914544"/>
              <a:gd name="connsiteY4" fmla="*/ 597833 h 6103434"/>
              <a:gd name="connsiteX5" fmla="*/ 8165325 w 8914544"/>
              <a:gd name="connsiteY5" fmla="*/ 6103434 h 6103434"/>
              <a:gd name="connsiteX6" fmla="*/ 0 w 8914544"/>
              <a:gd name="connsiteY6" fmla="*/ 6093909 h 6103434"/>
              <a:gd name="connsiteX7" fmla="*/ 9524 w 8914544"/>
              <a:gd name="connsiteY7" fmla="*/ 0 h 6103434"/>
              <a:gd name="connsiteX0" fmla="*/ 9524 w 8837102"/>
              <a:gd name="connsiteY0" fmla="*/ 0 h 6103434"/>
              <a:gd name="connsiteX1" fmla="*/ 6969937 w 8837102"/>
              <a:gd name="connsiteY1" fmla="*/ 7434 h 6103434"/>
              <a:gd name="connsiteX2" fmla="*/ 6973113 w 8837102"/>
              <a:gd name="connsiteY2" fmla="*/ 1731459 h 6103434"/>
              <a:gd name="connsiteX3" fmla="*/ 8694213 w 8837102"/>
              <a:gd name="connsiteY3" fmla="*/ 1731459 h 6103434"/>
              <a:gd name="connsiteX4" fmla="*/ 8695095 w 8837102"/>
              <a:gd name="connsiteY4" fmla="*/ 29033 h 6103434"/>
              <a:gd name="connsiteX5" fmla="*/ 8165325 w 8837102"/>
              <a:gd name="connsiteY5" fmla="*/ 6103434 h 6103434"/>
              <a:gd name="connsiteX6" fmla="*/ 0 w 8837102"/>
              <a:gd name="connsiteY6" fmla="*/ 6093909 h 6103434"/>
              <a:gd name="connsiteX7" fmla="*/ 9524 w 8837102"/>
              <a:gd name="connsiteY7" fmla="*/ 0 h 6103434"/>
              <a:gd name="connsiteX0" fmla="*/ 9524 w 8970194"/>
              <a:gd name="connsiteY0" fmla="*/ 107230 h 6210664"/>
              <a:gd name="connsiteX1" fmla="*/ 6969937 w 8970194"/>
              <a:gd name="connsiteY1" fmla="*/ 114664 h 6210664"/>
              <a:gd name="connsiteX2" fmla="*/ 6973113 w 8970194"/>
              <a:gd name="connsiteY2" fmla="*/ 1838689 h 6210664"/>
              <a:gd name="connsiteX3" fmla="*/ 8694213 w 8970194"/>
              <a:gd name="connsiteY3" fmla="*/ 1838689 h 6210664"/>
              <a:gd name="connsiteX4" fmla="*/ 8695095 w 8970194"/>
              <a:gd name="connsiteY4" fmla="*/ 136263 h 6210664"/>
              <a:gd name="connsiteX5" fmla="*/ 8165325 w 8970194"/>
              <a:gd name="connsiteY5" fmla="*/ 6210664 h 6210664"/>
              <a:gd name="connsiteX6" fmla="*/ 0 w 8970194"/>
              <a:gd name="connsiteY6" fmla="*/ 6201139 h 6210664"/>
              <a:gd name="connsiteX7" fmla="*/ 9524 w 8970194"/>
              <a:gd name="connsiteY7" fmla="*/ 107230 h 6210664"/>
              <a:gd name="connsiteX0" fmla="*/ 9524 w 8734141"/>
              <a:gd name="connsiteY0" fmla="*/ 157774 h 6261208"/>
              <a:gd name="connsiteX1" fmla="*/ 6969937 w 8734141"/>
              <a:gd name="connsiteY1" fmla="*/ 165208 h 6261208"/>
              <a:gd name="connsiteX2" fmla="*/ 6973113 w 8734141"/>
              <a:gd name="connsiteY2" fmla="*/ 1889233 h 6261208"/>
              <a:gd name="connsiteX3" fmla="*/ 8694213 w 8734141"/>
              <a:gd name="connsiteY3" fmla="*/ 1889233 h 6261208"/>
              <a:gd name="connsiteX4" fmla="*/ 8695095 w 8734141"/>
              <a:gd name="connsiteY4" fmla="*/ 186807 h 6261208"/>
              <a:gd name="connsiteX5" fmla="*/ 8165325 w 8734141"/>
              <a:gd name="connsiteY5" fmla="*/ 6261208 h 6261208"/>
              <a:gd name="connsiteX6" fmla="*/ 0 w 8734141"/>
              <a:gd name="connsiteY6" fmla="*/ 6251683 h 6261208"/>
              <a:gd name="connsiteX7" fmla="*/ 9524 w 8734141"/>
              <a:gd name="connsiteY7" fmla="*/ 157774 h 6261208"/>
              <a:gd name="connsiteX0" fmla="*/ 9524 w 8695095"/>
              <a:gd name="connsiteY0" fmla="*/ 0 h 6103434"/>
              <a:gd name="connsiteX1" fmla="*/ 6969937 w 8695095"/>
              <a:gd name="connsiteY1" fmla="*/ 7434 h 6103434"/>
              <a:gd name="connsiteX2" fmla="*/ 6973113 w 8695095"/>
              <a:gd name="connsiteY2" fmla="*/ 1731459 h 6103434"/>
              <a:gd name="connsiteX3" fmla="*/ 8694213 w 8695095"/>
              <a:gd name="connsiteY3" fmla="*/ 1731459 h 6103434"/>
              <a:gd name="connsiteX4" fmla="*/ 8695095 w 8695095"/>
              <a:gd name="connsiteY4" fmla="*/ 29033 h 6103434"/>
              <a:gd name="connsiteX5" fmla="*/ 8165325 w 8695095"/>
              <a:gd name="connsiteY5" fmla="*/ 6103434 h 6103434"/>
              <a:gd name="connsiteX6" fmla="*/ 0 w 8695095"/>
              <a:gd name="connsiteY6" fmla="*/ 6093909 h 6103434"/>
              <a:gd name="connsiteX7" fmla="*/ 9524 w 8695095"/>
              <a:gd name="connsiteY7" fmla="*/ 0 h 6103434"/>
              <a:gd name="connsiteX0" fmla="*/ 9524 w 8954978"/>
              <a:gd name="connsiteY0" fmla="*/ 0 h 6103434"/>
              <a:gd name="connsiteX1" fmla="*/ 6969937 w 8954978"/>
              <a:gd name="connsiteY1" fmla="*/ 7434 h 6103434"/>
              <a:gd name="connsiteX2" fmla="*/ 6973113 w 8954978"/>
              <a:gd name="connsiteY2" fmla="*/ 1731459 h 6103434"/>
              <a:gd name="connsiteX3" fmla="*/ 8694213 w 8954978"/>
              <a:gd name="connsiteY3" fmla="*/ 1731459 h 6103434"/>
              <a:gd name="connsiteX4" fmla="*/ 8695095 w 8954978"/>
              <a:gd name="connsiteY4" fmla="*/ 29033 h 6103434"/>
              <a:gd name="connsiteX5" fmla="*/ 8947095 w 8954978"/>
              <a:gd name="connsiteY5" fmla="*/ 2318633 h 6103434"/>
              <a:gd name="connsiteX6" fmla="*/ 8165325 w 8954978"/>
              <a:gd name="connsiteY6" fmla="*/ 6103434 h 6103434"/>
              <a:gd name="connsiteX7" fmla="*/ 0 w 8954978"/>
              <a:gd name="connsiteY7" fmla="*/ 6093909 h 6103434"/>
              <a:gd name="connsiteX8" fmla="*/ 9524 w 8954978"/>
              <a:gd name="connsiteY8" fmla="*/ 0 h 6103434"/>
              <a:gd name="connsiteX0" fmla="*/ 9524 w 8947095"/>
              <a:gd name="connsiteY0" fmla="*/ 0 h 6103434"/>
              <a:gd name="connsiteX1" fmla="*/ 6969937 w 8947095"/>
              <a:gd name="connsiteY1" fmla="*/ 7434 h 6103434"/>
              <a:gd name="connsiteX2" fmla="*/ 6973113 w 8947095"/>
              <a:gd name="connsiteY2" fmla="*/ 1731459 h 6103434"/>
              <a:gd name="connsiteX3" fmla="*/ 8694213 w 8947095"/>
              <a:gd name="connsiteY3" fmla="*/ 1731459 h 6103434"/>
              <a:gd name="connsiteX4" fmla="*/ 8695095 w 8947095"/>
              <a:gd name="connsiteY4" fmla="*/ 29033 h 6103434"/>
              <a:gd name="connsiteX5" fmla="*/ 8947095 w 8947095"/>
              <a:gd name="connsiteY5" fmla="*/ 2318633 h 6103434"/>
              <a:gd name="connsiteX6" fmla="*/ 8165325 w 8947095"/>
              <a:gd name="connsiteY6" fmla="*/ 6103434 h 6103434"/>
              <a:gd name="connsiteX7" fmla="*/ 0 w 8947095"/>
              <a:gd name="connsiteY7" fmla="*/ 6093909 h 6103434"/>
              <a:gd name="connsiteX8" fmla="*/ 9524 w 8947095"/>
              <a:gd name="connsiteY8" fmla="*/ 0 h 6103434"/>
              <a:gd name="connsiteX0" fmla="*/ 9524 w 9141495"/>
              <a:gd name="connsiteY0" fmla="*/ 358826 h 6462260"/>
              <a:gd name="connsiteX1" fmla="*/ 6969937 w 9141495"/>
              <a:gd name="connsiteY1" fmla="*/ 366260 h 6462260"/>
              <a:gd name="connsiteX2" fmla="*/ 6973113 w 9141495"/>
              <a:gd name="connsiteY2" fmla="*/ 2090285 h 6462260"/>
              <a:gd name="connsiteX3" fmla="*/ 8694213 w 9141495"/>
              <a:gd name="connsiteY3" fmla="*/ 2090285 h 6462260"/>
              <a:gd name="connsiteX4" fmla="*/ 8695095 w 9141495"/>
              <a:gd name="connsiteY4" fmla="*/ 387859 h 6462260"/>
              <a:gd name="connsiteX5" fmla="*/ 9141495 w 9141495"/>
              <a:gd name="connsiteY5" fmla="*/ 373459 h 6462260"/>
              <a:gd name="connsiteX6" fmla="*/ 8165325 w 9141495"/>
              <a:gd name="connsiteY6" fmla="*/ 6462260 h 6462260"/>
              <a:gd name="connsiteX7" fmla="*/ 0 w 9141495"/>
              <a:gd name="connsiteY7" fmla="*/ 6452735 h 6462260"/>
              <a:gd name="connsiteX8" fmla="*/ 9524 w 9141495"/>
              <a:gd name="connsiteY8" fmla="*/ 358826 h 6462260"/>
              <a:gd name="connsiteX0" fmla="*/ 9524 w 9141495"/>
              <a:gd name="connsiteY0" fmla="*/ 492044 h 6595478"/>
              <a:gd name="connsiteX1" fmla="*/ 6969937 w 9141495"/>
              <a:gd name="connsiteY1" fmla="*/ 499478 h 6595478"/>
              <a:gd name="connsiteX2" fmla="*/ 6973113 w 9141495"/>
              <a:gd name="connsiteY2" fmla="*/ 2223503 h 6595478"/>
              <a:gd name="connsiteX3" fmla="*/ 8694213 w 9141495"/>
              <a:gd name="connsiteY3" fmla="*/ 2223503 h 6595478"/>
              <a:gd name="connsiteX4" fmla="*/ 8695095 w 9141495"/>
              <a:gd name="connsiteY4" fmla="*/ 521077 h 6595478"/>
              <a:gd name="connsiteX5" fmla="*/ 9141495 w 9141495"/>
              <a:gd name="connsiteY5" fmla="*/ 506677 h 6595478"/>
              <a:gd name="connsiteX6" fmla="*/ 8165325 w 9141495"/>
              <a:gd name="connsiteY6" fmla="*/ 6595478 h 6595478"/>
              <a:gd name="connsiteX7" fmla="*/ 0 w 9141495"/>
              <a:gd name="connsiteY7" fmla="*/ 6585953 h 6595478"/>
              <a:gd name="connsiteX8" fmla="*/ 9524 w 9141495"/>
              <a:gd name="connsiteY8" fmla="*/ 492044 h 6595478"/>
              <a:gd name="connsiteX0" fmla="*/ 9524 w 9141495"/>
              <a:gd name="connsiteY0" fmla="*/ 0 h 6103434"/>
              <a:gd name="connsiteX1" fmla="*/ 6969937 w 9141495"/>
              <a:gd name="connsiteY1" fmla="*/ 7434 h 6103434"/>
              <a:gd name="connsiteX2" fmla="*/ 6973113 w 9141495"/>
              <a:gd name="connsiteY2" fmla="*/ 1731459 h 6103434"/>
              <a:gd name="connsiteX3" fmla="*/ 8694213 w 9141495"/>
              <a:gd name="connsiteY3" fmla="*/ 1731459 h 6103434"/>
              <a:gd name="connsiteX4" fmla="*/ 8695095 w 9141495"/>
              <a:gd name="connsiteY4" fmla="*/ 29033 h 6103434"/>
              <a:gd name="connsiteX5" fmla="*/ 9141495 w 9141495"/>
              <a:gd name="connsiteY5" fmla="*/ 14633 h 6103434"/>
              <a:gd name="connsiteX6" fmla="*/ 8165325 w 9141495"/>
              <a:gd name="connsiteY6" fmla="*/ 6103434 h 6103434"/>
              <a:gd name="connsiteX7" fmla="*/ 0 w 9141495"/>
              <a:gd name="connsiteY7" fmla="*/ 6093909 h 6103434"/>
              <a:gd name="connsiteX8" fmla="*/ 9524 w 9141495"/>
              <a:gd name="connsiteY8" fmla="*/ 0 h 6103434"/>
              <a:gd name="connsiteX0" fmla="*/ 9524 w 9141495"/>
              <a:gd name="connsiteY0" fmla="*/ 0 h 6103434"/>
              <a:gd name="connsiteX1" fmla="*/ 6969937 w 9141495"/>
              <a:gd name="connsiteY1" fmla="*/ 7434 h 6103434"/>
              <a:gd name="connsiteX2" fmla="*/ 6973113 w 9141495"/>
              <a:gd name="connsiteY2" fmla="*/ 1731459 h 6103434"/>
              <a:gd name="connsiteX3" fmla="*/ 8694213 w 9141495"/>
              <a:gd name="connsiteY3" fmla="*/ 1731459 h 6103434"/>
              <a:gd name="connsiteX4" fmla="*/ 8692714 w 9141495"/>
              <a:gd name="connsiteY4" fmla="*/ 7602 h 6103434"/>
              <a:gd name="connsiteX5" fmla="*/ 9141495 w 9141495"/>
              <a:gd name="connsiteY5" fmla="*/ 14633 h 6103434"/>
              <a:gd name="connsiteX6" fmla="*/ 8165325 w 9141495"/>
              <a:gd name="connsiteY6" fmla="*/ 6103434 h 6103434"/>
              <a:gd name="connsiteX7" fmla="*/ 0 w 9141495"/>
              <a:gd name="connsiteY7" fmla="*/ 6093909 h 6103434"/>
              <a:gd name="connsiteX8" fmla="*/ 9524 w 9141495"/>
              <a:gd name="connsiteY8" fmla="*/ 0 h 6103434"/>
              <a:gd name="connsiteX0" fmla="*/ 9524 w 9160545"/>
              <a:gd name="connsiteY0" fmla="*/ 0 h 6103434"/>
              <a:gd name="connsiteX1" fmla="*/ 6969937 w 9160545"/>
              <a:gd name="connsiteY1" fmla="*/ 7434 h 6103434"/>
              <a:gd name="connsiteX2" fmla="*/ 6973113 w 9160545"/>
              <a:gd name="connsiteY2" fmla="*/ 1731459 h 6103434"/>
              <a:gd name="connsiteX3" fmla="*/ 8694213 w 9160545"/>
              <a:gd name="connsiteY3" fmla="*/ 1731459 h 6103434"/>
              <a:gd name="connsiteX4" fmla="*/ 8692714 w 9160545"/>
              <a:gd name="connsiteY4" fmla="*/ 7602 h 6103434"/>
              <a:gd name="connsiteX5" fmla="*/ 9160545 w 9160545"/>
              <a:gd name="connsiteY5" fmla="*/ 7489 h 6103434"/>
              <a:gd name="connsiteX6" fmla="*/ 8165325 w 9160545"/>
              <a:gd name="connsiteY6" fmla="*/ 6103434 h 6103434"/>
              <a:gd name="connsiteX7" fmla="*/ 0 w 9160545"/>
              <a:gd name="connsiteY7" fmla="*/ 6093909 h 6103434"/>
              <a:gd name="connsiteX8" fmla="*/ 9524 w 9160545"/>
              <a:gd name="connsiteY8" fmla="*/ 0 h 6103434"/>
              <a:gd name="connsiteX0" fmla="*/ 9524 w 9160545"/>
              <a:gd name="connsiteY0" fmla="*/ 0 h 6103434"/>
              <a:gd name="connsiteX1" fmla="*/ 6969937 w 9160545"/>
              <a:gd name="connsiteY1" fmla="*/ 7434 h 6103434"/>
              <a:gd name="connsiteX2" fmla="*/ 6973113 w 9160545"/>
              <a:gd name="connsiteY2" fmla="*/ 1731459 h 6103434"/>
              <a:gd name="connsiteX3" fmla="*/ 8691832 w 9160545"/>
              <a:gd name="connsiteY3" fmla="*/ 1733840 h 6103434"/>
              <a:gd name="connsiteX4" fmla="*/ 8692714 w 9160545"/>
              <a:gd name="connsiteY4" fmla="*/ 7602 h 6103434"/>
              <a:gd name="connsiteX5" fmla="*/ 9160545 w 9160545"/>
              <a:gd name="connsiteY5" fmla="*/ 7489 h 6103434"/>
              <a:gd name="connsiteX6" fmla="*/ 8165325 w 9160545"/>
              <a:gd name="connsiteY6" fmla="*/ 6103434 h 6103434"/>
              <a:gd name="connsiteX7" fmla="*/ 0 w 9160545"/>
              <a:gd name="connsiteY7" fmla="*/ 6093909 h 6103434"/>
              <a:gd name="connsiteX8" fmla="*/ 9524 w 9160545"/>
              <a:gd name="connsiteY8" fmla="*/ 0 h 6103434"/>
              <a:gd name="connsiteX0" fmla="*/ 9524 w 9163069"/>
              <a:gd name="connsiteY0" fmla="*/ 0 h 6105816"/>
              <a:gd name="connsiteX1" fmla="*/ 6969937 w 9163069"/>
              <a:gd name="connsiteY1" fmla="*/ 7434 h 6105816"/>
              <a:gd name="connsiteX2" fmla="*/ 6973113 w 9163069"/>
              <a:gd name="connsiteY2" fmla="*/ 1731459 h 6105816"/>
              <a:gd name="connsiteX3" fmla="*/ 8691832 w 9163069"/>
              <a:gd name="connsiteY3" fmla="*/ 1733840 h 6105816"/>
              <a:gd name="connsiteX4" fmla="*/ 8692714 w 9163069"/>
              <a:gd name="connsiteY4" fmla="*/ 7602 h 6105816"/>
              <a:gd name="connsiteX5" fmla="*/ 9160545 w 9163069"/>
              <a:gd name="connsiteY5" fmla="*/ 7489 h 6105816"/>
              <a:gd name="connsiteX6" fmla="*/ 9163069 w 9163069"/>
              <a:gd name="connsiteY6" fmla="*/ 6105816 h 6105816"/>
              <a:gd name="connsiteX7" fmla="*/ 0 w 9163069"/>
              <a:gd name="connsiteY7" fmla="*/ 6093909 h 6105816"/>
              <a:gd name="connsiteX8" fmla="*/ 9524 w 9163069"/>
              <a:gd name="connsiteY8" fmla="*/ 0 h 6105816"/>
              <a:gd name="connsiteX0" fmla="*/ 9524 w 9163069"/>
              <a:gd name="connsiteY0" fmla="*/ 0 h 6166776"/>
              <a:gd name="connsiteX1" fmla="*/ 6969937 w 9163069"/>
              <a:gd name="connsiteY1" fmla="*/ 7434 h 6166776"/>
              <a:gd name="connsiteX2" fmla="*/ 6973113 w 9163069"/>
              <a:gd name="connsiteY2" fmla="*/ 1731459 h 6166776"/>
              <a:gd name="connsiteX3" fmla="*/ 8691832 w 9163069"/>
              <a:gd name="connsiteY3" fmla="*/ 1733840 h 6166776"/>
              <a:gd name="connsiteX4" fmla="*/ 8692714 w 9163069"/>
              <a:gd name="connsiteY4" fmla="*/ 7602 h 6166776"/>
              <a:gd name="connsiteX5" fmla="*/ 9160545 w 9163069"/>
              <a:gd name="connsiteY5" fmla="*/ 7489 h 6166776"/>
              <a:gd name="connsiteX6" fmla="*/ 9163069 w 9163069"/>
              <a:gd name="connsiteY6" fmla="*/ 6166776 h 6166776"/>
              <a:gd name="connsiteX7" fmla="*/ 0 w 9163069"/>
              <a:gd name="connsiteY7" fmla="*/ 6093909 h 6166776"/>
              <a:gd name="connsiteX8" fmla="*/ 9524 w 9163069"/>
              <a:gd name="connsiteY8" fmla="*/ 0 h 6166776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17144 w 4659649"/>
              <a:gd name="connsiteY0" fmla="*/ 0 h 6170109"/>
              <a:gd name="connsiteX1" fmla="*/ 2466517 w 4659649"/>
              <a:gd name="connsiteY1" fmla="*/ 7434 h 6170109"/>
              <a:gd name="connsiteX2" fmla="*/ 2469693 w 4659649"/>
              <a:gd name="connsiteY2" fmla="*/ 1731459 h 6170109"/>
              <a:gd name="connsiteX3" fmla="*/ 4188412 w 4659649"/>
              <a:gd name="connsiteY3" fmla="*/ 1733840 h 6170109"/>
              <a:gd name="connsiteX4" fmla="*/ 4189294 w 4659649"/>
              <a:gd name="connsiteY4" fmla="*/ 7602 h 6170109"/>
              <a:gd name="connsiteX5" fmla="*/ 4657125 w 4659649"/>
              <a:gd name="connsiteY5" fmla="*/ 7489 h 6170109"/>
              <a:gd name="connsiteX6" fmla="*/ 4659649 w 4659649"/>
              <a:gd name="connsiteY6" fmla="*/ 6166776 h 6170109"/>
              <a:gd name="connsiteX7" fmla="*/ 0 w 4659649"/>
              <a:gd name="connsiteY7" fmla="*/ 6170109 h 6170109"/>
              <a:gd name="connsiteX8" fmla="*/ 17144 w 4659649"/>
              <a:gd name="connsiteY8" fmla="*/ 0 h 6170109"/>
              <a:gd name="connsiteX0" fmla="*/ 786764 w 5429269"/>
              <a:gd name="connsiteY0" fmla="*/ 0 h 6695889"/>
              <a:gd name="connsiteX1" fmla="*/ 3236137 w 5429269"/>
              <a:gd name="connsiteY1" fmla="*/ 7434 h 6695889"/>
              <a:gd name="connsiteX2" fmla="*/ 3239313 w 5429269"/>
              <a:gd name="connsiteY2" fmla="*/ 1731459 h 6695889"/>
              <a:gd name="connsiteX3" fmla="*/ 4958032 w 5429269"/>
              <a:gd name="connsiteY3" fmla="*/ 1733840 h 6695889"/>
              <a:gd name="connsiteX4" fmla="*/ 4958914 w 5429269"/>
              <a:gd name="connsiteY4" fmla="*/ 7602 h 6695889"/>
              <a:gd name="connsiteX5" fmla="*/ 5426745 w 5429269"/>
              <a:gd name="connsiteY5" fmla="*/ 7489 h 6695889"/>
              <a:gd name="connsiteX6" fmla="*/ 5429269 w 5429269"/>
              <a:gd name="connsiteY6" fmla="*/ 6166776 h 6695889"/>
              <a:gd name="connsiteX7" fmla="*/ 0 w 5429269"/>
              <a:gd name="connsiteY7" fmla="*/ 6695889 h 6695889"/>
              <a:gd name="connsiteX8" fmla="*/ 786764 w 5429269"/>
              <a:gd name="connsiteY8" fmla="*/ 0 h 669588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32384 w 5589289"/>
              <a:gd name="connsiteY0" fmla="*/ 186 h 6863715"/>
              <a:gd name="connsiteX1" fmla="*/ 3396157 w 5589289"/>
              <a:gd name="connsiteY1" fmla="*/ 0 h 6863715"/>
              <a:gd name="connsiteX2" fmla="*/ 3399333 w 5589289"/>
              <a:gd name="connsiteY2" fmla="*/ 1724025 h 6863715"/>
              <a:gd name="connsiteX3" fmla="*/ 5118052 w 5589289"/>
              <a:gd name="connsiteY3" fmla="*/ 1726406 h 6863715"/>
              <a:gd name="connsiteX4" fmla="*/ 5118934 w 5589289"/>
              <a:gd name="connsiteY4" fmla="*/ 168 h 6863715"/>
              <a:gd name="connsiteX5" fmla="*/ 5586765 w 5589289"/>
              <a:gd name="connsiteY5" fmla="*/ 55 h 6863715"/>
              <a:gd name="connsiteX6" fmla="*/ 5589289 w 5589289"/>
              <a:gd name="connsiteY6" fmla="*/ 6159342 h 6863715"/>
              <a:gd name="connsiteX7" fmla="*/ 0 w 5589289"/>
              <a:gd name="connsiteY7" fmla="*/ 6863715 h 6863715"/>
              <a:gd name="connsiteX8" fmla="*/ 32384 w 5589289"/>
              <a:gd name="connsiteY8" fmla="*/ 186 h 6863715"/>
              <a:gd name="connsiteX0" fmla="*/ 32384 w 5589289"/>
              <a:gd name="connsiteY0" fmla="*/ 186 h 6863715"/>
              <a:gd name="connsiteX1" fmla="*/ 3396157 w 5589289"/>
              <a:gd name="connsiteY1" fmla="*/ 0 h 6863715"/>
              <a:gd name="connsiteX2" fmla="*/ 3399333 w 5589289"/>
              <a:gd name="connsiteY2" fmla="*/ 1724025 h 6863715"/>
              <a:gd name="connsiteX3" fmla="*/ 5118052 w 5589289"/>
              <a:gd name="connsiteY3" fmla="*/ 1726406 h 6863715"/>
              <a:gd name="connsiteX4" fmla="*/ 5118934 w 5589289"/>
              <a:gd name="connsiteY4" fmla="*/ 168 h 6863715"/>
              <a:gd name="connsiteX5" fmla="*/ 5586765 w 5589289"/>
              <a:gd name="connsiteY5" fmla="*/ 55 h 6863715"/>
              <a:gd name="connsiteX6" fmla="*/ 5589289 w 5589289"/>
              <a:gd name="connsiteY6" fmla="*/ 6860382 h 6863715"/>
              <a:gd name="connsiteX7" fmla="*/ 0 w 5589289"/>
              <a:gd name="connsiteY7" fmla="*/ 6863715 h 6863715"/>
              <a:gd name="connsiteX8" fmla="*/ 32384 w 5589289"/>
              <a:gd name="connsiteY8" fmla="*/ 186 h 6863715"/>
              <a:gd name="connsiteX0" fmla="*/ 0 w 5595005"/>
              <a:gd name="connsiteY0" fmla="*/ 186 h 6863715"/>
              <a:gd name="connsiteX1" fmla="*/ 3401873 w 5595005"/>
              <a:gd name="connsiteY1" fmla="*/ 0 h 6863715"/>
              <a:gd name="connsiteX2" fmla="*/ 3405049 w 5595005"/>
              <a:gd name="connsiteY2" fmla="*/ 1724025 h 6863715"/>
              <a:gd name="connsiteX3" fmla="*/ 5123768 w 5595005"/>
              <a:gd name="connsiteY3" fmla="*/ 1726406 h 6863715"/>
              <a:gd name="connsiteX4" fmla="*/ 5124650 w 5595005"/>
              <a:gd name="connsiteY4" fmla="*/ 168 h 6863715"/>
              <a:gd name="connsiteX5" fmla="*/ 5592481 w 5595005"/>
              <a:gd name="connsiteY5" fmla="*/ 55 h 6863715"/>
              <a:gd name="connsiteX6" fmla="*/ 5595005 w 5595005"/>
              <a:gd name="connsiteY6" fmla="*/ 6860382 h 6863715"/>
              <a:gd name="connsiteX7" fmla="*/ 5716 w 5595005"/>
              <a:gd name="connsiteY7" fmla="*/ 6863715 h 6863715"/>
              <a:gd name="connsiteX8" fmla="*/ 0 w 5595005"/>
              <a:gd name="connsiteY8" fmla="*/ 186 h 6863715"/>
              <a:gd name="connsiteX0" fmla="*/ 1076327 w 5589292"/>
              <a:gd name="connsiteY0" fmla="*/ 186 h 6863715"/>
              <a:gd name="connsiteX1" fmla="*/ 3396160 w 5589292"/>
              <a:gd name="connsiteY1" fmla="*/ 0 h 6863715"/>
              <a:gd name="connsiteX2" fmla="*/ 3399336 w 5589292"/>
              <a:gd name="connsiteY2" fmla="*/ 1724025 h 6863715"/>
              <a:gd name="connsiteX3" fmla="*/ 5118055 w 5589292"/>
              <a:gd name="connsiteY3" fmla="*/ 1726406 h 6863715"/>
              <a:gd name="connsiteX4" fmla="*/ 5118937 w 5589292"/>
              <a:gd name="connsiteY4" fmla="*/ 168 h 6863715"/>
              <a:gd name="connsiteX5" fmla="*/ 5586768 w 5589292"/>
              <a:gd name="connsiteY5" fmla="*/ 55 h 6863715"/>
              <a:gd name="connsiteX6" fmla="*/ 5589292 w 5589292"/>
              <a:gd name="connsiteY6" fmla="*/ 6860382 h 6863715"/>
              <a:gd name="connsiteX7" fmla="*/ 3 w 5589292"/>
              <a:gd name="connsiteY7" fmla="*/ 6863715 h 6863715"/>
              <a:gd name="connsiteX8" fmla="*/ 1076327 w 5589292"/>
              <a:gd name="connsiteY8" fmla="*/ 186 h 6863715"/>
              <a:gd name="connsiteX0" fmla="*/ 0 w 4512965"/>
              <a:gd name="connsiteY0" fmla="*/ 186 h 6860382"/>
              <a:gd name="connsiteX1" fmla="*/ 2319833 w 4512965"/>
              <a:gd name="connsiteY1" fmla="*/ 0 h 6860382"/>
              <a:gd name="connsiteX2" fmla="*/ 2323009 w 4512965"/>
              <a:gd name="connsiteY2" fmla="*/ 1724025 h 6860382"/>
              <a:gd name="connsiteX3" fmla="*/ 4041728 w 4512965"/>
              <a:gd name="connsiteY3" fmla="*/ 1726406 h 6860382"/>
              <a:gd name="connsiteX4" fmla="*/ 4042610 w 4512965"/>
              <a:gd name="connsiteY4" fmla="*/ 168 h 6860382"/>
              <a:gd name="connsiteX5" fmla="*/ 4510441 w 4512965"/>
              <a:gd name="connsiteY5" fmla="*/ 55 h 6860382"/>
              <a:gd name="connsiteX6" fmla="*/ 4512965 w 4512965"/>
              <a:gd name="connsiteY6" fmla="*/ 6860382 h 6860382"/>
              <a:gd name="connsiteX7" fmla="*/ 5716 w 4512965"/>
              <a:gd name="connsiteY7" fmla="*/ 6856095 h 6860382"/>
              <a:gd name="connsiteX8" fmla="*/ 0 w 4512965"/>
              <a:gd name="connsiteY8" fmla="*/ 186 h 6860382"/>
              <a:gd name="connsiteX0" fmla="*/ 0 w 4512965"/>
              <a:gd name="connsiteY0" fmla="*/ 186 h 6871335"/>
              <a:gd name="connsiteX1" fmla="*/ 2319833 w 4512965"/>
              <a:gd name="connsiteY1" fmla="*/ 0 h 6871335"/>
              <a:gd name="connsiteX2" fmla="*/ 2323009 w 4512965"/>
              <a:gd name="connsiteY2" fmla="*/ 1724025 h 6871335"/>
              <a:gd name="connsiteX3" fmla="*/ 4041728 w 4512965"/>
              <a:gd name="connsiteY3" fmla="*/ 1726406 h 6871335"/>
              <a:gd name="connsiteX4" fmla="*/ 4042610 w 4512965"/>
              <a:gd name="connsiteY4" fmla="*/ 168 h 6871335"/>
              <a:gd name="connsiteX5" fmla="*/ 4510441 w 4512965"/>
              <a:gd name="connsiteY5" fmla="*/ 55 h 6871335"/>
              <a:gd name="connsiteX6" fmla="*/ 4512965 w 4512965"/>
              <a:gd name="connsiteY6" fmla="*/ 6860382 h 6871335"/>
              <a:gd name="connsiteX7" fmla="*/ 13336 w 4512965"/>
              <a:gd name="connsiteY7" fmla="*/ 6871335 h 6871335"/>
              <a:gd name="connsiteX8" fmla="*/ 0 w 4512965"/>
              <a:gd name="connsiteY8" fmla="*/ 186 h 687133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92711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0540"/>
              <a:gd name="connsiteX1" fmla="*/ 2319833 w 4512965"/>
              <a:gd name="connsiteY1" fmla="*/ 0 h 6860540"/>
              <a:gd name="connsiteX2" fmla="*/ 2323009 w 4512965"/>
              <a:gd name="connsiteY2" fmla="*/ 1724025 h 6860540"/>
              <a:gd name="connsiteX3" fmla="*/ 4041728 w 4512965"/>
              <a:gd name="connsiteY3" fmla="*/ 1726406 h 6860540"/>
              <a:gd name="connsiteX4" fmla="*/ 4042610 w 4512965"/>
              <a:gd name="connsiteY4" fmla="*/ 168 h 6860540"/>
              <a:gd name="connsiteX5" fmla="*/ 4510441 w 4512965"/>
              <a:gd name="connsiteY5" fmla="*/ 55 h 6860540"/>
              <a:gd name="connsiteX6" fmla="*/ 4512965 w 4512965"/>
              <a:gd name="connsiteY6" fmla="*/ 6860382 h 6860540"/>
              <a:gd name="connsiteX7" fmla="*/ 10161 w 4512965"/>
              <a:gd name="connsiteY7" fmla="*/ 6860540 h 6860540"/>
              <a:gd name="connsiteX8" fmla="*/ 0 w 4512965"/>
              <a:gd name="connsiteY8" fmla="*/ 186 h 6860540"/>
              <a:gd name="connsiteX0" fmla="*/ 5714 w 4502804"/>
              <a:gd name="connsiteY0" fmla="*/ 186 h 6860540"/>
              <a:gd name="connsiteX1" fmla="*/ 2309672 w 4502804"/>
              <a:gd name="connsiteY1" fmla="*/ 0 h 6860540"/>
              <a:gd name="connsiteX2" fmla="*/ 2312848 w 4502804"/>
              <a:gd name="connsiteY2" fmla="*/ 1724025 h 6860540"/>
              <a:gd name="connsiteX3" fmla="*/ 4031567 w 4502804"/>
              <a:gd name="connsiteY3" fmla="*/ 1726406 h 6860540"/>
              <a:gd name="connsiteX4" fmla="*/ 4032449 w 4502804"/>
              <a:gd name="connsiteY4" fmla="*/ 168 h 6860540"/>
              <a:gd name="connsiteX5" fmla="*/ 4500280 w 4502804"/>
              <a:gd name="connsiteY5" fmla="*/ 55 h 6860540"/>
              <a:gd name="connsiteX6" fmla="*/ 4502804 w 4502804"/>
              <a:gd name="connsiteY6" fmla="*/ 6860382 h 6860540"/>
              <a:gd name="connsiteX7" fmla="*/ 0 w 4502804"/>
              <a:gd name="connsiteY7" fmla="*/ 6860540 h 6860540"/>
              <a:gd name="connsiteX8" fmla="*/ 5714 w 4502804"/>
              <a:gd name="connsiteY8" fmla="*/ 186 h 6860540"/>
              <a:gd name="connsiteX0" fmla="*/ 380364 w 4502804"/>
              <a:gd name="connsiteY0" fmla="*/ 238311 h 6860540"/>
              <a:gd name="connsiteX1" fmla="*/ 2309672 w 4502804"/>
              <a:gd name="connsiteY1" fmla="*/ 0 h 6860540"/>
              <a:gd name="connsiteX2" fmla="*/ 2312848 w 4502804"/>
              <a:gd name="connsiteY2" fmla="*/ 1724025 h 6860540"/>
              <a:gd name="connsiteX3" fmla="*/ 4031567 w 4502804"/>
              <a:gd name="connsiteY3" fmla="*/ 1726406 h 6860540"/>
              <a:gd name="connsiteX4" fmla="*/ 4032449 w 4502804"/>
              <a:gd name="connsiteY4" fmla="*/ 168 h 6860540"/>
              <a:gd name="connsiteX5" fmla="*/ 4500280 w 4502804"/>
              <a:gd name="connsiteY5" fmla="*/ 55 h 6860540"/>
              <a:gd name="connsiteX6" fmla="*/ 4502804 w 4502804"/>
              <a:gd name="connsiteY6" fmla="*/ 6860382 h 6860540"/>
              <a:gd name="connsiteX7" fmla="*/ 0 w 4502804"/>
              <a:gd name="connsiteY7" fmla="*/ 6860540 h 6860540"/>
              <a:gd name="connsiteX8" fmla="*/ 380364 w 4502804"/>
              <a:gd name="connsiteY8" fmla="*/ 238311 h 6860540"/>
              <a:gd name="connsiteX0" fmla="*/ 2539 w 4502804"/>
              <a:gd name="connsiteY0" fmla="*/ 0 h 6863529"/>
              <a:gd name="connsiteX1" fmla="*/ 2309672 w 4502804"/>
              <a:gd name="connsiteY1" fmla="*/ 2989 h 6863529"/>
              <a:gd name="connsiteX2" fmla="*/ 2312848 w 4502804"/>
              <a:gd name="connsiteY2" fmla="*/ 1727014 h 6863529"/>
              <a:gd name="connsiteX3" fmla="*/ 4031567 w 4502804"/>
              <a:gd name="connsiteY3" fmla="*/ 1729395 h 6863529"/>
              <a:gd name="connsiteX4" fmla="*/ 4032449 w 4502804"/>
              <a:gd name="connsiteY4" fmla="*/ 3157 h 6863529"/>
              <a:gd name="connsiteX5" fmla="*/ 4500280 w 4502804"/>
              <a:gd name="connsiteY5" fmla="*/ 3044 h 6863529"/>
              <a:gd name="connsiteX6" fmla="*/ 4502804 w 4502804"/>
              <a:gd name="connsiteY6" fmla="*/ 6863371 h 6863529"/>
              <a:gd name="connsiteX7" fmla="*/ 0 w 4502804"/>
              <a:gd name="connsiteY7" fmla="*/ 6863529 h 6863529"/>
              <a:gd name="connsiteX8" fmla="*/ 2539 w 4502804"/>
              <a:gd name="connsiteY8" fmla="*/ 0 h 6863529"/>
              <a:gd name="connsiteX0" fmla="*/ 659764 w 4502804"/>
              <a:gd name="connsiteY0" fmla="*/ 0 h 6863529"/>
              <a:gd name="connsiteX1" fmla="*/ 2309672 w 4502804"/>
              <a:gd name="connsiteY1" fmla="*/ 2989 h 6863529"/>
              <a:gd name="connsiteX2" fmla="*/ 2312848 w 4502804"/>
              <a:gd name="connsiteY2" fmla="*/ 1727014 h 6863529"/>
              <a:gd name="connsiteX3" fmla="*/ 4031567 w 4502804"/>
              <a:gd name="connsiteY3" fmla="*/ 1729395 h 6863529"/>
              <a:gd name="connsiteX4" fmla="*/ 4032449 w 4502804"/>
              <a:gd name="connsiteY4" fmla="*/ 3157 h 6863529"/>
              <a:gd name="connsiteX5" fmla="*/ 4500280 w 4502804"/>
              <a:gd name="connsiteY5" fmla="*/ 3044 h 6863529"/>
              <a:gd name="connsiteX6" fmla="*/ 4502804 w 4502804"/>
              <a:gd name="connsiteY6" fmla="*/ 6863371 h 6863529"/>
              <a:gd name="connsiteX7" fmla="*/ 0 w 4502804"/>
              <a:gd name="connsiteY7" fmla="*/ 6863529 h 6863529"/>
              <a:gd name="connsiteX8" fmla="*/ 659764 w 4502804"/>
              <a:gd name="connsiteY8" fmla="*/ 0 h 6863529"/>
              <a:gd name="connsiteX0" fmla="*/ 2539 w 3845579"/>
              <a:gd name="connsiteY0" fmla="*/ 0 h 6863529"/>
              <a:gd name="connsiteX1" fmla="*/ 1652447 w 3845579"/>
              <a:gd name="connsiteY1" fmla="*/ 2989 h 6863529"/>
              <a:gd name="connsiteX2" fmla="*/ 1655623 w 3845579"/>
              <a:gd name="connsiteY2" fmla="*/ 1727014 h 6863529"/>
              <a:gd name="connsiteX3" fmla="*/ 3374342 w 3845579"/>
              <a:gd name="connsiteY3" fmla="*/ 1729395 h 6863529"/>
              <a:gd name="connsiteX4" fmla="*/ 3375224 w 3845579"/>
              <a:gd name="connsiteY4" fmla="*/ 3157 h 6863529"/>
              <a:gd name="connsiteX5" fmla="*/ 3843055 w 3845579"/>
              <a:gd name="connsiteY5" fmla="*/ 3044 h 6863529"/>
              <a:gd name="connsiteX6" fmla="*/ 3845579 w 3845579"/>
              <a:gd name="connsiteY6" fmla="*/ 6863371 h 6863529"/>
              <a:gd name="connsiteX7" fmla="*/ 0 w 3845579"/>
              <a:gd name="connsiteY7" fmla="*/ 6863529 h 6863529"/>
              <a:gd name="connsiteX8" fmla="*/ 2539 w 3845579"/>
              <a:gd name="connsiteY8" fmla="*/ 0 h 6863529"/>
              <a:gd name="connsiteX0" fmla="*/ 0 w 9148465"/>
              <a:gd name="connsiteY0" fmla="*/ 0 h 6863529"/>
              <a:gd name="connsiteX1" fmla="*/ 6955333 w 9148465"/>
              <a:gd name="connsiteY1" fmla="*/ 2989 h 6863529"/>
              <a:gd name="connsiteX2" fmla="*/ 6958509 w 9148465"/>
              <a:gd name="connsiteY2" fmla="*/ 1727014 h 6863529"/>
              <a:gd name="connsiteX3" fmla="*/ 8677228 w 9148465"/>
              <a:gd name="connsiteY3" fmla="*/ 1729395 h 6863529"/>
              <a:gd name="connsiteX4" fmla="*/ 8678110 w 9148465"/>
              <a:gd name="connsiteY4" fmla="*/ 3157 h 6863529"/>
              <a:gd name="connsiteX5" fmla="*/ 9145941 w 9148465"/>
              <a:gd name="connsiteY5" fmla="*/ 3044 h 6863529"/>
              <a:gd name="connsiteX6" fmla="*/ 9148465 w 9148465"/>
              <a:gd name="connsiteY6" fmla="*/ 6863371 h 6863529"/>
              <a:gd name="connsiteX7" fmla="*/ 5302886 w 9148465"/>
              <a:gd name="connsiteY7" fmla="*/ 6863529 h 6863529"/>
              <a:gd name="connsiteX8" fmla="*/ 0 w 9148465"/>
              <a:gd name="connsiteY8" fmla="*/ 0 h 6863529"/>
              <a:gd name="connsiteX0" fmla="*/ 2539 w 9151004"/>
              <a:gd name="connsiteY0" fmla="*/ 0 h 6863529"/>
              <a:gd name="connsiteX1" fmla="*/ 6957872 w 9151004"/>
              <a:gd name="connsiteY1" fmla="*/ 2989 h 6863529"/>
              <a:gd name="connsiteX2" fmla="*/ 6961048 w 9151004"/>
              <a:gd name="connsiteY2" fmla="*/ 1727014 h 6863529"/>
              <a:gd name="connsiteX3" fmla="*/ 8679767 w 9151004"/>
              <a:gd name="connsiteY3" fmla="*/ 1729395 h 6863529"/>
              <a:gd name="connsiteX4" fmla="*/ 8680649 w 9151004"/>
              <a:gd name="connsiteY4" fmla="*/ 3157 h 6863529"/>
              <a:gd name="connsiteX5" fmla="*/ 9148480 w 9151004"/>
              <a:gd name="connsiteY5" fmla="*/ 3044 h 6863529"/>
              <a:gd name="connsiteX6" fmla="*/ 9151004 w 9151004"/>
              <a:gd name="connsiteY6" fmla="*/ 6863371 h 6863529"/>
              <a:gd name="connsiteX7" fmla="*/ 0 w 9151004"/>
              <a:gd name="connsiteY7" fmla="*/ 6863529 h 6863529"/>
              <a:gd name="connsiteX8" fmla="*/ 2539 w 9151004"/>
              <a:gd name="connsiteY8" fmla="*/ 0 h 6863529"/>
              <a:gd name="connsiteX0" fmla="*/ 3 w 9148468"/>
              <a:gd name="connsiteY0" fmla="*/ 0 h 6863371"/>
              <a:gd name="connsiteX1" fmla="*/ 6955336 w 9148468"/>
              <a:gd name="connsiteY1" fmla="*/ 2989 h 6863371"/>
              <a:gd name="connsiteX2" fmla="*/ 6958512 w 9148468"/>
              <a:gd name="connsiteY2" fmla="*/ 1727014 h 6863371"/>
              <a:gd name="connsiteX3" fmla="*/ 8677231 w 9148468"/>
              <a:gd name="connsiteY3" fmla="*/ 1729395 h 6863371"/>
              <a:gd name="connsiteX4" fmla="*/ 8678113 w 9148468"/>
              <a:gd name="connsiteY4" fmla="*/ 3157 h 6863371"/>
              <a:gd name="connsiteX5" fmla="*/ 9145944 w 9148468"/>
              <a:gd name="connsiteY5" fmla="*/ 3044 h 6863371"/>
              <a:gd name="connsiteX6" fmla="*/ 9148468 w 9148468"/>
              <a:gd name="connsiteY6" fmla="*/ 6863371 h 6863371"/>
              <a:gd name="connsiteX7" fmla="*/ 906454 w 9148468"/>
              <a:gd name="connsiteY7" fmla="*/ 5397242 h 6863371"/>
              <a:gd name="connsiteX8" fmla="*/ 3 w 9148468"/>
              <a:gd name="connsiteY8" fmla="*/ 0 h 6863371"/>
              <a:gd name="connsiteX0" fmla="*/ 345 w 9148810"/>
              <a:gd name="connsiteY0" fmla="*/ 0 h 6863371"/>
              <a:gd name="connsiteX1" fmla="*/ 6955678 w 9148810"/>
              <a:gd name="connsiteY1" fmla="*/ 2989 h 6863371"/>
              <a:gd name="connsiteX2" fmla="*/ 6958854 w 9148810"/>
              <a:gd name="connsiteY2" fmla="*/ 1727014 h 6863371"/>
              <a:gd name="connsiteX3" fmla="*/ 8677573 w 9148810"/>
              <a:gd name="connsiteY3" fmla="*/ 1729395 h 6863371"/>
              <a:gd name="connsiteX4" fmla="*/ 8678455 w 9148810"/>
              <a:gd name="connsiteY4" fmla="*/ 3157 h 6863371"/>
              <a:gd name="connsiteX5" fmla="*/ 9146286 w 9148810"/>
              <a:gd name="connsiteY5" fmla="*/ 3044 h 6863371"/>
              <a:gd name="connsiteX6" fmla="*/ 9148810 w 9148810"/>
              <a:gd name="connsiteY6" fmla="*/ 6863371 h 6863371"/>
              <a:gd name="connsiteX7" fmla="*/ 3217 w 9148810"/>
              <a:gd name="connsiteY7" fmla="*/ 5148352 h 6863371"/>
              <a:gd name="connsiteX8" fmla="*/ 345 w 9148810"/>
              <a:gd name="connsiteY8" fmla="*/ 0 h 6863371"/>
              <a:gd name="connsiteX0" fmla="*/ 345 w 9146296"/>
              <a:gd name="connsiteY0" fmla="*/ 0 h 5359210"/>
              <a:gd name="connsiteX1" fmla="*/ 6955678 w 9146296"/>
              <a:gd name="connsiteY1" fmla="*/ 2989 h 5359210"/>
              <a:gd name="connsiteX2" fmla="*/ 6958854 w 9146296"/>
              <a:gd name="connsiteY2" fmla="*/ 1727014 h 5359210"/>
              <a:gd name="connsiteX3" fmla="*/ 8677573 w 9146296"/>
              <a:gd name="connsiteY3" fmla="*/ 1729395 h 5359210"/>
              <a:gd name="connsiteX4" fmla="*/ 8678455 w 9146296"/>
              <a:gd name="connsiteY4" fmla="*/ 3157 h 5359210"/>
              <a:gd name="connsiteX5" fmla="*/ 9146286 w 9146296"/>
              <a:gd name="connsiteY5" fmla="*/ 3044 h 5359210"/>
              <a:gd name="connsiteX6" fmla="*/ 9100114 w 9146296"/>
              <a:gd name="connsiteY6" fmla="*/ 5359210 h 5359210"/>
              <a:gd name="connsiteX7" fmla="*/ 3217 w 9146296"/>
              <a:gd name="connsiteY7" fmla="*/ 5148352 h 5359210"/>
              <a:gd name="connsiteX8" fmla="*/ 345 w 9146296"/>
              <a:gd name="connsiteY8" fmla="*/ 0 h 5359210"/>
              <a:gd name="connsiteX0" fmla="*/ 345 w 9148810"/>
              <a:gd name="connsiteY0" fmla="*/ 0 h 5148352"/>
              <a:gd name="connsiteX1" fmla="*/ 6955678 w 9148810"/>
              <a:gd name="connsiteY1" fmla="*/ 2989 h 5148352"/>
              <a:gd name="connsiteX2" fmla="*/ 6958854 w 9148810"/>
              <a:gd name="connsiteY2" fmla="*/ 1727014 h 5148352"/>
              <a:gd name="connsiteX3" fmla="*/ 8677573 w 9148810"/>
              <a:gd name="connsiteY3" fmla="*/ 1729395 h 5148352"/>
              <a:gd name="connsiteX4" fmla="*/ 8678455 w 9148810"/>
              <a:gd name="connsiteY4" fmla="*/ 3157 h 5148352"/>
              <a:gd name="connsiteX5" fmla="*/ 9146286 w 9148810"/>
              <a:gd name="connsiteY5" fmla="*/ 3044 h 5148352"/>
              <a:gd name="connsiteX6" fmla="*/ 9148810 w 9148810"/>
              <a:gd name="connsiteY6" fmla="*/ 5137373 h 5148352"/>
              <a:gd name="connsiteX7" fmla="*/ 3217 w 9148810"/>
              <a:gd name="connsiteY7" fmla="*/ 5148352 h 5148352"/>
              <a:gd name="connsiteX8" fmla="*/ 345 w 9148810"/>
              <a:gd name="connsiteY8" fmla="*/ 0 h 5148352"/>
              <a:gd name="connsiteX0" fmla="*/ 345 w 9148810"/>
              <a:gd name="connsiteY0" fmla="*/ 0 h 5148352"/>
              <a:gd name="connsiteX1" fmla="*/ 6955678 w 9148810"/>
              <a:gd name="connsiteY1" fmla="*/ 2989 h 5148352"/>
              <a:gd name="connsiteX2" fmla="*/ 6958854 w 9148810"/>
              <a:gd name="connsiteY2" fmla="*/ 1727014 h 5148352"/>
              <a:gd name="connsiteX3" fmla="*/ 8677573 w 9148810"/>
              <a:gd name="connsiteY3" fmla="*/ 1729395 h 5148352"/>
              <a:gd name="connsiteX4" fmla="*/ 8678455 w 9148810"/>
              <a:gd name="connsiteY4" fmla="*/ 3157 h 5148352"/>
              <a:gd name="connsiteX5" fmla="*/ 9146286 w 9148810"/>
              <a:gd name="connsiteY5" fmla="*/ 3044 h 5148352"/>
              <a:gd name="connsiteX6" fmla="*/ 9148810 w 9148810"/>
              <a:gd name="connsiteY6" fmla="*/ 5146898 h 5148352"/>
              <a:gd name="connsiteX7" fmla="*/ 3217 w 9148810"/>
              <a:gd name="connsiteY7" fmla="*/ 5148352 h 5148352"/>
              <a:gd name="connsiteX8" fmla="*/ 345 w 9148810"/>
              <a:gd name="connsiteY8" fmla="*/ 0 h 5148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8810" h="5148352">
                <a:moveTo>
                  <a:pt x="345" y="0"/>
                </a:moveTo>
                <a:lnTo>
                  <a:pt x="6955678" y="2989"/>
                </a:lnTo>
                <a:cubicBezTo>
                  <a:pt x="6957530" y="577664"/>
                  <a:pt x="6957002" y="1152339"/>
                  <a:pt x="6958854" y="1727014"/>
                </a:cubicBezTo>
                <a:lnTo>
                  <a:pt x="8677573" y="1729395"/>
                </a:lnTo>
                <a:cubicBezTo>
                  <a:pt x="8677073" y="1154776"/>
                  <a:pt x="8678955" y="577776"/>
                  <a:pt x="8678455" y="3157"/>
                </a:cubicBezTo>
                <a:lnTo>
                  <a:pt x="9146286" y="3044"/>
                </a:lnTo>
                <a:cubicBezTo>
                  <a:pt x="9147127" y="2035820"/>
                  <a:pt x="9147548" y="1716734"/>
                  <a:pt x="9148810" y="5146898"/>
                </a:cubicBezTo>
                <a:lnTo>
                  <a:pt x="3217" y="5148352"/>
                </a:lnTo>
                <a:cubicBezTo>
                  <a:pt x="5122" y="2861567"/>
                  <a:pt x="-1560" y="2286785"/>
                  <a:pt x="345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de-DE"/>
          </a:p>
        </p:txBody>
      </p:sp>
      <p:sp>
        <p:nvSpPr>
          <p:cNvPr id="9" name="Titel 3"/>
          <p:cNvSpPr>
            <a:spLocks noGrp="1"/>
          </p:cNvSpPr>
          <p:nvPr>
            <p:ph type="title"/>
          </p:nvPr>
        </p:nvSpPr>
        <p:spPr>
          <a:xfrm>
            <a:off x="1115616" y="1995686"/>
            <a:ext cx="5472509" cy="1477327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1116013" y="3418563"/>
            <a:ext cx="5472112" cy="1152525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8488" y="-1587"/>
            <a:ext cx="1727200" cy="172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1217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HERVORHEBUNG MIT VIEL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88A6D120-9FDF-4BA4-88F2-0C6E4507EEA9}"/>
              </a:ext>
            </a:extLst>
          </p:cNvPr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5F15F71-44DB-4D13-AE55-D28F1D1B73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756000"/>
            <a:ext cx="8172000" cy="720000"/>
          </a:xfrm>
        </p:spPr>
        <p:txBody>
          <a:bodyPr/>
          <a:lstStyle>
            <a:lvl1pPr>
              <a:lnSpc>
                <a:spcPts val="57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Kapite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3B6EDCF-E80D-4E83-A8E4-8D2B26F44C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000" y="1476441"/>
            <a:ext cx="8172000" cy="1439863"/>
          </a:xfrm>
        </p:spPr>
        <p:txBody>
          <a:bodyPr/>
          <a:lstStyle>
            <a:lvl1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1pPr>
            <a:lvl2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2pPr>
            <a:lvl3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3pPr>
            <a:lvl4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4pPr>
            <a:lvl5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5pPr>
            <a:lvl6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6pPr>
            <a:lvl7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7pPr>
            <a:lvl8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8pPr>
            <a:lvl9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Hervorhebung</a:t>
            </a:r>
          </a:p>
        </p:txBody>
      </p:sp>
    </p:spTree>
    <p:extLst>
      <p:ext uri="{BB962C8B-B14F-4D97-AF65-F5344CB8AC3E}">
        <p14:creationId xmlns:p14="http://schemas.microsoft.com/office/powerpoint/2010/main" val="29108949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HERVORHEBUNG MIT VIEL INHALT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88A6D120-9FDF-4BA4-88F2-0C6E4507EEA9}"/>
              </a:ext>
            </a:extLst>
          </p:cNvPr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5F15F71-44DB-4D13-AE55-D28F1D1B73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828000"/>
            <a:ext cx="8172000" cy="540000"/>
          </a:xfrm>
        </p:spPr>
        <p:txBody>
          <a:bodyPr/>
          <a:lstStyle>
            <a:lvl1pPr>
              <a:lnSpc>
                <a:spcPts val="44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Kapite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3B6EDCF-E80D-4E83-A8E4-8D2B26F44C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000" y="1367999"/>
            <a:ext cx="8172000" cy="2916000"/>
          </a:xfrm>
        </p:spPr>
        <p:txBody>
          <a:bodyPr/>
          <a:lstStyle>
            <a:lvl1pPr>
              <a:lnSpc>
                <a:spcPts val="4400"/>
              </a:lnSpc>
              <a:spcAft>
                <a:spcPts val="0"/>
              </a:spcAft>
              <a:defRPr sz="3600" b="0">
                <a:solidFill>
                  <a:schemeClr val="bg1"/>
                </a:solidFill>
              </a:defRPr>
            </a:lvl1pPr>
            <a:lvl2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2pPr>
            <a:lvl3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3pPr>
            <a:lvl4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4pPr>
            <a:lvl5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5pPr>
            <a:lvl6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6pPr>
            <a:lvl7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7pPr>
            <a:lvl8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8pPr>
            <a:lvl9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Hervorhebung</a:t>
            </a:r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970510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 defTabSz="234000">
              <a:tabLst>
                <a:tab pos="234000" algn="l"/>
              </a:tabLst>
              <a:defRPr/>
            </a:lvl2pPr>
            <a:lvl3pPr defTabSz="234000">
              <a:tabLst>
                <a:tab pos="234000" algn="l"/>
              </a:tabLst>
              <a:defRPr/>
            </a:lvl3pPr>
            <a:lvl4pPr defTabSz="234000">
              <a:tabLst>
                <a:tab pos="234000" algn="l"/>
              </a:tabLst>
              <a:defRPr/>
            </a:lvl4pPr>
            <a:lvl5pPr defTabSz="234000">
              <a:tabLst>
                <a:tab pos="234000" algn="l"/>
              </a:tabLst>
              <a:defRPr/>
            </a:lvl5pPr>
            <a:lvl6pPr marL="0" indent="0" defTabSz="234000">
              <a:buFont typeface="+mj-lt"/>
              <a:buNone/>
              <a:tabLst>
                <a:tab pos="234000" algn="l"/>
              </a:tabLst>
              <a:defRPr/>
            </a:lvl6pPr>
            <a:lvl7pPr defTabSz="234000">
              <a:tabLst>
                <a:tab pos="234000" algn="l"/>
              </a:tabLst>
              <a:defRPr/>
            </a:lvl7pPr>
            <a:lvl8pPr defTabSz="234000">
              <a:tabLst>
                <a:tab pos="234000" algn="l"/>
              </a:tabLst>
              <a:defRPr/>
            </a:lvl8pPr>
            <a:lvl9pPr defTabSz="234000">
              <a:tabLst>
                <a:tab pos="234000" algn="l"/>
              </a:tabLst>
              <a:defRPr/>
            </a:lvl9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05867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" name="Tabellenplatzhalter 4">
            <a:extLst>
              <a:ext uri="{FF2B5EF4-FFF2-40B4-BE49-F238E27FC236}">
                <a16:creationId xmlns:a16="http://schemas.microsoft.com/office/drawing/2014/main" id="{F5A8BB0B-4BD0-4791-8A9B-89C9D0000E35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68000" y="918000"/>
            <a:ext cx="8172000" cy="336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Tabelle durch Klicken auf Symbol hinzufügen</a:t>
            </a:r>
            <a:endParaRPr lang="de-DE" dirty="0"/>
          </a:p>
        </p:txBody>
      </p:sp>
      <p:grpSp>
        <p:nvGrpSpPr>
          <p:cNvPr id="6" name="Regieanweisungen">
            <a:extLst>
              <a:ext uri="{FF2B5EF4-FFF2-40B4-BE49-F238E27FC236}">
                <a16:creationId xmlns:a16="http://schemas.microsoft.com/office/drawing/2014/main" id="{20CE116F-C667-495A-B654-8B72C3A079E7}"/>
              </a:ext>
            </a:extLst>
          </p:cNvPr>
          <p:cNvGrpSpPr/>
          <p:nvPr userDrawn="1"/>
        </p:nvGrpSpPr>
        <p:grpSpPr>
          <a:xfrm>
            <a:off x="-2628800" y="-468000"/>
            <a:ext cx="14833648" cy="6083999"/>
            <a:chOff x="-2628800" y="-468000"/>
            <a:chExt cx="14833648" cy="6083999"/>
          </a:xfrm>
        </p:grpSpPr>
        <p:sp>
          <p:nvSpPr>
            <p:cNvPr id="16" name="Listenebenen">
              <a:extLst>
                <a:ext uri="{FF2B5EF4-FFF2-40B4-BE49-F238E27FC236}">
                  <a16:creationId xmlns:a16="http://schemas.microsoft.com/office/drawing/2014/main" id="{84A0104B-AA90-4DE7-ADAE-6959FBC15DB1}"/>
                </a:ext>
              </a:extLst>
            </p:cNvPr>
            <p:cNvSpPr txBox="1"/>
            <p:nvPr userDrawn="1"/>
          </p:nvSpPr>
          <p:spPr>
            <a:xfrm rot="10800000" flipH="1" flipV="1">
              <a:off x="-2628800" y="1368000"/>
              <a:ext cx="2520800" cy="1527786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Einfärbung einer Spalte/Zeile: </a:t>
              </a:r>
              <a:br>
                <a:rPr lang="de-DE" sz="1200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Markieren der Spalte/Zeile: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 Entwurf / Tabellentools &gt; Schattierung &gt;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200" b="1" baseline="0" dirty="0">
                <a:solidFill>
                  <a:schemeClr val="tx1"/>
                </a:solidFill>
                <a:latin typeface="+mn-lt"/>
              </a:endParaRP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Die gewünschte Farbe aus den Designfarben auswählen</a:t>
              </a:r>
            </a:p>
          </p:txBody>
        </p:sp>
        <p:sp>
          <p:nvSpPr>
            <p:cNvPr id="10" name="Zurücksetzen">
              <a:extLst>
                <a:ext uri="{FF2B5EF4-FFF2-40B4-BE49-F238E27FC236}">
                  <a16:creationId xmlns:a16="http://schemas.microsoft.com/office/drawing/2014/main" id="{431D1FFE-03BA-4520-A89B-CDD1BC7E4751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648000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38EA8585-E11F-4D10-9DAB-78E6756B2D63}"/>
                </a:ext>
              </a:extLst>
            </p:cNvPr>
            <p:cNvSpPr txBox="1"/>
            <p:nvPr userDrawn="1"/>
          </p:nvSpPr>
          <p:spPr>
            <a:xfrm rot="10800000" flipH="1" flipV="1">
              <a:off x="431801" y="-468000"/>
              <a:ext cx="82804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öschen einer Spalte/Zeile: </a:t>
              </a: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rkieren der Spalte/Zeile: Layout &gt; Löschen &gt; Spalte bzw. Zeile löschen</a:t>
              </a:r>
            </a:p>
          </p:txBody>
        </p:sp>
        <p:sp>
          <p:nvSpPr>
            <p:cNvPr id="12" name="Fußzeile">
              <a:extLst>
                <a:ext uri="{FF2B5EF4-FFF2-40B4-BE49-F238E27FC236}">
                  <a16:creationId xmlns:a16="http://schemas.microsoft.com/office/drawing/2014/main" id="{4EFB3271-7B15-42ED-A704-B39FAEDC1436}"/>
                </a:ext>
              </a:extLst>
            </p:cNvPr>
            <p:cNvSpPr txBox="1"/>
            <p:nvPr userDrawn="1"/>
          </p:nvSpPr>
          <p:spPr>
            <a:xfrm rot="10800000" flipH="1" flipV="1">
              <a:off x="431800" y="5255998"/>
              <a:ext cx="8280400" cy="360001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6BCDAEA0-53BC-4E57-84CA-5C530F05A90E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2283786"/>
              <a:ext cx="2952848" cy="1044048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Einfügen einer Spalte/Zeile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Markieren der Spalte/Zeile neben der eine weitere eingefügt werden soll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Layout &gt; Hier die gewünschte Einfügeoption auswählen</a:t>
              </a:r>
            </a:p>
          </p:txBody>
        </p:sp>
      </p:grp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4573989D-8FFD-4555-AAB7-592C2CE3AC9F}"/>
              </a:ext>
            </a:extLst>
          </p:cNvPr>
          <p:cNvCxnSpPr/>
          <p:nvPr userDrawn="1"/>
        </p:nvCxnSpPr>
        <p:spPr>
          <a:xfrm>
            <a:off x="0" y="4485600"/>
            <a:ext cx="914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F3269418-AEC9-43D6-9A0C-41CA02546B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4513"/>
          <a:stretch/>
        </p:blipFill>
        <p:spPr>
          <a:xfrm>
            <a:off x="9252000" y="3327773"/>
            <a:ext cx="2067213" cy="864158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081CC49D-33BF-49DC-B533-86BE2EB412A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308000" y="4679640"/>
            <a:ext cx="1512000" cy="288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5419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Headline //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19031" y="405427"/>
            <a:ext cx="7560000" cy="468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grpSp>
        <p:nvGrpSpPr>
          <p:cNvPr id="6" name="Regieanweisungen">
            <a:extLst>
              <a:ext uri="{FF2B5EF4-FFF2-40B4-BE49-F238E27FC236}">
                <a16:creationId xmlns:a16="http://schemas.microsoft.com/office/drawing/2014/main" id="{20CE116F-C667-495A-B654-8B72C3A079E7}"/>
              </a:ext>
            </a:extLst>
          </p:cNvPr>
          <p:cNvGrpSpPr/>
          <p:nvPr userDrawn="1"/>
        </p:nvGrpSpPr>
        <p:grpSpPr>
          <a:xfrm>
            <a:off x="-2628800" y="-468000"/>
            <a:ext cx="14833648" cy="6083999"/>
            <a:chOff x="-2628800" y="-468000"/>
            <a:chExt cx="14833648" cy="6083999"/>
          </a:xfrm>
        </p:grpSpPr>
        <p:sp>
          <p:nvSpPr>
            <p:cNvPr id="16" name="Listenebenen">
              <a:extLst>
                <a:ext uri="{FF2B5EF4-FFF2-40B4-BE49-F238E27FC236}">
                  <a16:creationId xmlns:a16="http://schemas.microsoft.com/office/drawing/2014/main" id="{84A0104B-AA90-4DE7-ADAE-6959FBC15DB1}"/>
                </a:ext>
              </a:extLst>
            </p:cNvPr>
            <p:cNvSpPr txBox="1"/>
            <p:nvPr userDrawn="1"/>
          </p:nvSpPr>
          <p:spPr>
            <a:xfrm rot="10800000" flipH="1" flipV="1">
              <a:off x="-2628800" y="1368000"/>
              <a:ext cx="2520800" cy="1527786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Einfärbung einer Spalte/Zeile: </a:t>
              </a:r>
              <a:br>
                <a:rPr lang="de-DE" sz="1200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Markieren der Spalte/Zeile: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 Entwurf / Tabellentools &gt; Schattierung &gt;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200" b="1" baseline="0" dirty="0">
                <a:solidFill>
                  <a:schemeClr val="tx1"/>
                </a:solidFill>
                <a:latin typeface="+mn-lt"/>
              </a:endParaRP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Die gewünschte Farbe aus den Designfarben auswählen</a:t>
              </a:r>
            </a:p>
          </p:txBody>
        </p:sp>
        <p:sp>
          <p:nvSpPr>
            <p:cNvPr id="10" name="Zurücksetzen">
              <a:extLst>
                <a:ext uri="{FF2B5EF4-FFF2-40B4-BE49-F238E27FC236}">
                  <a16:creationId xmlns:a16="http://schemas.microsoft.com/office/drawing/2014/main" id="{431D1FFE-03BA-4520-A89B-CDD1BC7E4751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648000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38EA8585-E11F-4D10-9DAB-78E6756B2D63}"/>
                </a:ext>
              </a:extLst>
            </p:cNvPr>
            <p:cNvSpPr txBox="1"/>
            <p:nvPr userDrawn="1"/>
          </p:nvSpPr>
          <p:spPr>
            <a:xfrm rot="10800000" flipH="1" flipV="1">
              <a:off x="431801" y="-468000"/>
              <a:ext cx="82804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öschen einer Spalte/Zeile: </a:t>
              </a: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rkieren der Spalte/Zeile: Layout &gt; Löschen &gt; Spalte bzw. Zeile löschen</a:t>
              </a:r>
            </a:p>
          </p:txBody>
        </p:sp>
        <p:sp>
          <p:nvSpPr>
            <p:cNvPr id="12" name="Fußzeile">
              <a:extLst>
                <a:ext uri="{FF2B5EF4-FFF2-40B4-BE49-F238E27FC236}">
                  <a16:creationId xmlns:a16="http://schemas.microsoft.com/office/drawing/2014/main" id="{4EFB3271-7B15-42ED-A704-B39FAEDC1436}"/>
                </a:ext>
              </a:extLst>
            </p:cNvPr>
            <p:cNvSpPr txBox="1"/>
            <p:nvPr userDrawn="1"/>
          </p:nvSpPr>
          <p:spPr>
            <a:xfrm rot="10800000" flipH="1" flipV="1">
              <a:off x="431800" y="5255998"/>
              <a:ext cx="8280400" cy="360001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6BCDAEA0-53BC-4E57-84CA-5C530F05A90E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2283786"/>
              <a:ext cx="2952848" cy="1044048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Einfügen einer Spalte/Zeile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Markieren der Spalte/Zeile neben der eine weitere eingefügt werden soll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Layout &gt; Hier die gewünschte Einfügeoption auswählen</a:t>
              </a:r>
            </a:p>
          </p:txBody>
        </p:sp>
      </p:grp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4573989D-8FFD-4555-AAB7-592C2CE3AC9F}"/>
              </a:ext>
            </a:extLst>
          </p:cNvPr>
          <p:cNvCxnSpPr/>
          <p:nvPr userDrawn="1"/>
        </p:nvCxnSpPr>
        <p:spPr>
          <a:xfrm>
            <a:off x="0" y="4485600"/>
            <a:ext cx="914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F3269418-AEC9-43D6-9A0C-41CA02546B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4513"/>
          <a:stretch/>
        </p:blipFill>
        <p:spPr>
          <a:xfrm>
            <a:off x="9252000" y="3327773"/>
            <a:ext cx="2067213" cy="864158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081CC49D-33BF-49DC-B533-86BE2EB412A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308000" y="4679640"/>
            <a:ext cx="1512000" cy="288720"/>
          </a:xfrm>
          <a:prstGeom prst="rect">
            <a:avLst/>
          </a:prstGeom>
        </p:spPr>
      </p:pic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AA78F89-2ACB-412B-A15E-E0257394F08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25238" y="1058863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17" name="Bildplatzhalter 6">
            <a:extLst>
              <a:ext uri="{FF2B5EF4-FFF2-40B4-BE49-F238E27FC236}">
                <a16:creationId xmlns:a16="http://schemas.microsoft.com/office/drawing/2014/main" id="{53BA0682-B47F-4367-A3B8-D32510070C9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021886" y="1058863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8A034563-AB29-4F37-B5BB-33456532395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818534" y="10603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0" name="Bildplatzhalter 6">
            <a:extLst>
              <a:ext uri="{FF2B5EF4-FFF2-40B4-BE49-F238E27FC236}">
                <a16:creationId xmlns:a16="http://schemas.microsoft.com/office/drawing/2014/main" id="{0424F7CF-E57C-464B-8B50-5B9AC8DA959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615182" y="10603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1" name="Bildplatzhalter 6">
            <a:extLst>
              <a:ext uri="{FF2B5EF4-FFF2-40B4-BE49-F238E27FC236}">
                <a16:creationId xmlns:a16="http://schemas.microsoft.com/office/drawing/2014/main" id="{710B0DF4-ED82-43E1-BDB1-7320C123D7E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25238" y="28271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2" name="Bildplatzhalter 6">
            <a:extLst>
              <a:ext uri="{FF2B5EF4-FFF2-40B4-BE49-F238E27FC236}">
                <a16:creationId xmlns:a16="http://schemas.microsoft.com/office/drawing/2014/main" id="{B71EE452-5FE7-40D2-B9E1-D5D45EDB5AB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2021886" y="2842320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3" name="Bildplatzhalter 6">
            <a:extLst>
              <a:ext uri="{FF2B5EF4-FFF2-40B4-BE49-F238E27FC236}">
                <a16:creationId xmlns:a16="http://schemas.microsoft.com/office/drawing/2014/main" id="{D276B3D8-1DDB-4E7B-9F3D-9878674761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818534" y="28271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4" name="Bildplatzhalter 6">
            <a:extLst>
              <a:ext uri="{FF2B5EF4-FFF2-40B4-BE49-F238E27FC236}">
                <a16:creationId xmlns:a16="http://schemas.microsoft.com/office/drawing/2014/main" id="{07C48AA0-BED2-43CB-AB9B-1BA883F1149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609555" y="2825220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DFDB2DC1-8B4F-4765-964F-31538821C2D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451725" y="1060450"/>
            <a:ext cx="1584325" cy="32067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3813125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0" y="0"/>
            <a:ext cx="9144000" cy="5148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 dirty="0"/>
              <a:t>Vollbild durch klicken einfügen.</a:t>
            </a:r>
          </a:p>
        </p:txBody>
      </p:sp>
    </p:spTree>
    <p:extLst>
      <p:ext uri="{BB962C8B-B14F-4D97-AF65-F5344CB8AC3E}">
        <p14:creationId xmlns:p14="http://schemas.microsoft.com/office/powerpoint/2010/main" val="39111779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2052000" y="468000"/>
            <a:ext cx="5040000" cy="336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97D7879-BA70-4DD0-99E9-74C1A1FA34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B422CC4-3EFE-4A06-B194-FAB2C24ECED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C3B07E-B021-4B5C-9450-33EDD58444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51999" y="3952800"/>
            <a:ext cx="5040000" cy="324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// für weitere Ebenen (Text) 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3257041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92" userDrawn="1">
          <p15:clr>
            <a:srgbClr val="FBAE40"/>
          </p15:clr>
        </p15:guide>
        <p15:guide id="2" pos="4468" userDrawn="1">
          <p15:clr>
            <a:srgbClr val="FBAE40"/>
          </p15:clr>
        </p15:guide>
        <p15:guide id="3" orient="horz" pos="291" userDrawn="1">
          <p15:clr>
            <a:srgbClr val="FBAE40"/>
          </p15:clr>
        </p15:guide>
        <p15:guide id="4" orient="horz" pos="2419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8000" y="468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97D7879-BA70-4DD0-99E9-74C1A1FA34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B422CC4-3EFE-4A06-B194-FAB2C24ECED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C3B07E-B021-4B5C-9450-33EDD58444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000" y="3240000"/>
            <a:ext cx="3960000" cy="1044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</a:t>
            </a:r>
            <a:r>
              <a:rPr lang="de-DE" dirty="0" err="1"/>
              <a:t>Bildunterzeile</a:t>
            </a:r>
            <a:r>
              <a:rPr lang="de-DE" dirty="0"/>
              <a:t> // für weitere Ebenen (Text) 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8" name="Bildplatzhalter 6">
            <a:extLst>
              <a:ext uri="{FF2B5EF4-FFF2-40B4-BE49-F238E27FC236}">
                <a16:creationId xmlns:a16="http://schemas.microsoft.com/office/drawing/2014/main" id="{CFABEA7C-7103-4FAC-AAB1-B8FF0684867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80000" y="468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9CA26BD8-E4CD-4A9F-ACC0-895F1FD2744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0" y="3240000"/>
            <a:ext cx="3960000" cy="1044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</a:t>
            </a:r>
            <a:r>
              <a:rPr lang="de-DE" dirty="0" err="1"/>
              <a:t>Bildunterzeile</a:t>
            </a:r>
            <a:r>
              <a:rPr lang="de-DE" dirty="0"/>
              <a:t> // für weitere Ebenen (Text)  &gt;&gt; Menü &gt; Start &gt; Absatz &gt; Listenebene erhöhen</a:t>
            </a:r>
          </a:p>
          <a:p>
            <a:pPr lvl="1"/>
            <a:r>
              <a:rPr lang="de-DE" dirty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6226435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 userDrawn="1">
          <p15:clr>
            <a:srgbClr val="FBAE40"/>
          </p15:clr>
        </p15:guide>
        <p15:guide id="2" pos="5443" userDrawn="1">
          <p15:clr>
            <a:srgbClr val="FBAE40"/>
          </p15:clr>
        </p15:guide>
        <p15:guide id="3" orient="horz" pos="291">
          <p15:clr>
            <a:srgbClr val="FBAE40"/>
          </p15:clr>
        </p15:guide>
        <p15:guide id="4" orient="horz" pos="1963" userDrawn="1">
          <p15:clr>
            <a:srgbClr val="FBAE40"/>
          </p15:clr>
        </p15:guide>
        <p15:guide id="5" pos="279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>
          <a:xfrm>
            <a:off x="468000" y="396000"/>
            <a:ext cx="7560000" cy="46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KAPITEL | CHART-HEADLINE</a:t>
            </a:r>
          </a:p>
        </p:txBody>
      </p: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>
          <a:xfrm>
            <a:off x="468000" y="918000"/>
            <a:ext cx="7560000" cy="336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(Text und Aufzählung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4" name="Datumsplatzhalter 3"/>
          <p:cNvSpPr>
            <a:spLocks noGrp="1"/>
          </p:cNvSpPr>
          <p:nvPr userDrawn="1">
            <p:ph type="dt" sz="half" idx="2"/>
          </p:nvPr>
        </p:nvSpPr>
        <p:spPr>
          <a:xfrm>
            <a:off x="360000" y="5524114"/>
            <a:ext cx="4284008" cy="17998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tx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9pPr>
          </a:lstStyle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3"/>
          </p:nvPr>
        </p:nvSpPr>
        <p:spPr>
          <a:xfrm>
            <a:off x="720000" y="4752000"/>
            <a:ext cx="6300000" cy="10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tx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9pPr>
          </a:lstStyle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4"/>
          </p:nvPr>
        </p:nvSpPr>
        <p:spPr>
          <a:xfrm>
            <a:off x="324000" y="4752000"/>
            <a:ext cx="252000" cy="10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tx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9pPr>
          </a:lstStyle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grpSp>
        <p:nvGrpSpPr>
          <p:cNvPr id="31" name="Regieanweisungen"/>
          <p:cNvGrpSpPr/>
          <p:nvPr userDrawn="1"/>
        </p:nvGrpSpPr>
        <p:grpSpPr>
          <a:xfrm>
            <a:off x="-2088000" y="-468000"/>
            <a:ext cx="13284000" cy="6083999"/>
            <a:chOff x="-2088000" y="-468000"/>
            <a:chExt cx="13284000" cy="6083999"/>
          </a:xfrm>
        </p:grpSpPr>
        <p:grpSp>
          <p:nvGrpSpPr>
            <p:cNvPr id="29" name="Listenebenen"/>
            <p:cNvGrpSpPr/>
            <p:nvPr userDrawn="1"/>
          </p:nvGrpSpPr>
          <p:grpSpPr>
            <a:xfrm>
              <a:off x="-2088000" y="1368000"/>
              <a:ext cx="1980000" cy="2319874"/>
              <a:chOff x="-2088000" y="1368000"/>
              <a:chExt cx="1980000" cy="2319874"/>
            </a:xfrm>
          </p:grpSpPr>
          <p:sp>
            <p:nvSpPr>
              <p:cNvPr id="12" name="Text // Listenebene erhöhen"/>
              <p:cNvSpPr txBox="1"/>
              <p:nvPr userDrawn="1"/>
            </p:nvSpPr>
            <p:spPr>
              <a:xfrm>
                <a:off x="-2016000" y="2787874"/>
                <a:ext cx="936000" cy="396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 dirty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 dirty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13" name="Text // Listenebene verringern"/>
              <p:cNvSpPr txBox="1"/>
              <p:nvPr userDrawn="1"/>
            </p:nvSpPr>
            <p:spPr>
              <a:xfrm>
                <a:off x="-2016000" y="3291874"/>
                <a:ext cx="936000" cy="396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 dirty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 dirty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5" name="Listenebenen"/>
              <p:cNvSpPr txBox="1"/>
              <p:nvPr userDrawn="1"/>
            </p:nvSpPr>
            <p:spPr>
              <a:xfrm rot="10800000" flipH="1" flipV="1">
                <a:off x="-2088000" y="1368000"/>
                <a:ext cx="1980000" cy="8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0" baseline="0" dirty="0">
                    <a:solidFill>
                      <a:schemeClr val="tx1"/>
                    </a:solidFill>
                    <a:latin typeface="+mn-lt"/>
                  </a:rPr>
                  <a:t>Listen erstellen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0" baseline="0" dirty="0">
                    <a:solidFill>
                      <a:schemeClr val="tx1"/>
                    </a:solidFill>
                    <a:latin typeface="+mn-lt"/>
                  </a:rPr>
                  <a:t>Wechseln Sie die Textebene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0" baseline="0" dirty="0">
                    <a:solidFill>
                      <a:schemeClr val="tx1"/>
                    </a:solidFill>
                    <a:latin typeface="+mn-lt"/>
                  </a:rPr>
                  <a:t>im Menü über: </a:t>
                </a:r>
                <a:br>
                  <a:rPr lang="de-DE" sz="1200" b="0" baseline="0" dirty="0">
                    <a:solidFill>
                      <a:schemeClr val="tx1"/>
                    </a:solidFill>
                    <a:latin typeface="+mn-lt"/>
                  </a:rPr>
                </a:br>
                <a:r>
                  <a:rPr lang="de-DE" sz="1200" b="1" baseline="0" dirty="0">
                    <a:solidFill>
                      <a:schemeClr val="tx1"/>
                    </a:solidFill>
                    <a:latin typeface="+mn-lt"/>
                  </a:rPr>
                  <a:t>Start &gt; Absatz &gt; Listenebene erhöhen/verringern</a:t>
                </a:r>
              </a:p>
            </p:txBody>
          </p:sp>
          <p:pic>
            <p:nvPicPr>
              <p:cNvPr id="27" name="Bild // Listenebene verringern"/>
              <p:cNvPicPr>
                <a:picLocks noChangeAspect="1"/>
              </p:cNvPicPr>
              <p:nvPr userDrawn="1"/>
            </p:nvPicPr>
            <p:blipFill>
              <a:blip r:embed="rId20"/>
              <a:stretch>
                <a:fillRect/>
              </a:stretch>
            </p:blipFill>
            <p:spPr>
              <a:xfrm>
                <a:off x="-963360" y="3291874"/>
                <a:ext cx="855360" cy="396000"/>
              </a:xfrm>
              <a:prstGeom prst="rect">
                <a:avLst/>
              </a:prstGeom>
            </p:spPr>
          </p:pic>
          <p:pic>
            <p:nvPicPr>
              <p:cNvPr id="28" name="Bild // Listenebene erhöhen"/>
              <p:cNvPicPr>
                <a:picLocks noChangeAspect="1"/>
              </p:cNvPicPr>
              <p:nvPr userDrawn="1"/>
            </p:nvPicPr>
            <p:blipFill>
              <a:blip r:embed="rId21"/>
              <a:stretch>
                <a:fillRect/>
              </a:stretch>
            </p:blipFill>
            <p:spPr>
              <a:xfrm>
                <a:off x="-963360" y="2787874"/>
                <a:ext cx="855360" cy="396000"/>
              </a:xfrm>
              <a:prstGeom prst="rect">
                <a:avLst/>
              </a:prstGeom>
            </p:spPr>
          </p:pic>
        </p:grpSp>
        <p:sp>
          <p:nvSpPr>
            <p:cNvPr id="14" name="Zurücksetzen"/>
            <p:cNvSpPr txBox="1"/>
            <p:nvPr userDrawn="1"/>
          </p:nvSpPr>
          <p:spPr>
            <a:xfrm rot="10800000" flipH="1" flipV="1">
              <a:off x="9252000" y="648000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5" name="Hilfslinien"/>
            <p:cNvSpPr txBox="1"/>
            <p:nvPr userDrawn="1"/>
          </p:nvSpPr>
          <p:spPr>
            <a:xfrm rot="10800000" flipH="1" flipV="1">
              <a:off x="431801" y="-468000"/>
              <a:ext cx="82804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ü: </a:t>
              </a: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Haken bei Führungslinien setzen</a:t>
              </a:r>
            </a:p>
          </p:txBody>
        </p:sp>
        <p:sp>
          <p:nvSpPr>
            <p:cNvPr id="16" name="Fußzeile"/>
            <p:cNvSpPr txBox="1"/>
            <p:nvPr userDrawn="1"/>
          </p:nvSpPr>
          <p:spPr>
            <a:xfrm rot="10800000" flipH="1" flipV="1">
              <a:off x="431800" y="5255998"/>
              <a:ext cx="8280400" cy="360001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30" name="Layoutwechsel"/>
            <p:cNvSpPr txBox="1"/>
            <p:nvPr userDrawn="1"/>
          </p:nvSpPr>
          <p:spPr>
            <a:xfrm rot="10800000" flipH="1" flipV="1">
              <a:off x="9252000" y="2283786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200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</p:grp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F61B1FA0-8233-4248-B899-BF9702E3E986}"/>
              </a:ext>
            </a:extLst>
          </p:cNvPr>
          <p:cNvCxnSpPr/>
          <p:nvPr userDrawn="1"/>
        </p:nvCxnSpPr>
        <p:spPr>
          <a:xfrm>
            <a:off x="0" y="4485600"/>
            <a:ext cx="914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fik 7">
            <a:extLst>
              <a:ext uri="{FF2B5EF4-FFF2-40B4-BE49-F238E27FC236}">
                <a16:creationId xmlns:a16="http://schemas.microsoft.com/office/drawing/2014/main" id="{289C4D98-9606-4382-895C-2F9999CA3289}"/>
              </a:ext>
            </a:extLst>
          </p:cNvPr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7308000" y="4679640"/>
            <a:ext cx="1512000" cy="288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4192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0" r:id="rId4"/>
    <p:sldLayoutId id="2147483667" r:id="rId5"/>
    <p:sldLayoutId id="2147483669" r:id="rId6"/>
    <p:sldLayoutId id="2147483658" r:id="rId7"/>
    <p:sldLayoutId id="2147483659" r:id="rId8"/>
    <p:sldLayoutId id="2147483660" r:id="rId9"/>
    <p:sldLayoutId id="2147483661" r:id="rId10"/>
    <p:sldLayoutId id="2147483663" r:id="rId11"/>
    <p:sldLayoutId id="2147483662" r:id="rId12"/>
    <p:sldLayoutId id="2147483664" r:id="rId13"/>
    <p:sldLayoutId id="2147483665" r:id="rId14"/>
    <p:sldLayoutId id="2147483666" r:id="rId15"/>
    <p:sldLayoutId id="2147483654" r:id="rId16"/>
    <p:sldLayoutId id="2147483655" r:id="rId17"/>
    <p:sldLayoutId id="2147483670" r:id="rId18"/>
  </p:sldLayoutIdLst>
  <p:hf hdr="0" dt="0"/>
  <p:txStyles>
    <p:titleStyle>
      <a:lvl1pPr marL="0" indent="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700" b="0" kern="1200" baseline="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1200"/>
        </a:spcAft>
        <a:buSzPct val="75000"/>
        <a:buFont typeface="Arial" panose="020B0604020202020204" pitchFamily="34" charset="0"/>
        <a:buNone/>
        <a:defRPr sz="1500" b="1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234000" indent="-23400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bg2"/>
        </a:buClr>
        <a:buSzPct val="100000"/>
        <a:buFont typeface="Wingdings" panose="05000000000000000000" pitchFamily="2" charset="2"/>
        <a:buChar char="§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468000" indent="-23400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anose="05000000000000000000" pitchFamily="2" charset="2"/>
        <a:buChar char="§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4pPr>
      <a:lvl5pPr marL="702000" indent="-23400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anose="05000000000000000000" pitchFamily="2" charset="2"/>
        <a:buChar char="§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92" userDrawn="1">
          <p15:clr>
            <a:srgbClr val="5ACBF0"/>
          </p15:clr>
        </p15:guide>
        <p15:guide id="2" pos="5059" userDrawn="1">
          <p15:clr>
            <a:srgbClr val="5ACBF0"/>
          </p15:clr>
        </p15:guide>
        <p15:guide id="3" orient="horz" pos="245" userDrawn="1">
          <p15:clr>
            <a:srgbClr val="5ACBF0"/>
          </p15:clr>
        </p15:guide>
        <p15:guide id="4" orient="horz" pos="2700" userDrawn="1">
          <p15:clr>
            <a:srgbClr val="5ACBF0"/>
          </p15:clr>
        </p15:guide>
        <p15:guide id="5" pos="5443" userDrawn="1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9.jp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8" descr="Ein Bild, das draußen, Gebäude, Wasser, groß enthält.&#10;&#10;Automatisch generierte Beschreibung">
            <a:extLst>
              <a:ext uri="{FF2B5EF4-FFF2-40B4-BE49-F238E27FC236}">
                <a16:creationId xmlns:a16="http://schemas.microsoft.com/office/drawing/2014/main" id="{9630A345-5842-47A2-BA27-F0F55B82C24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34" b="2361"/>
          <a:stretch/>
        </p:blipFill>
        <p:spPr>
          <a:xfrm>
            <a:off x="-4834" y="-1"/>
            <a:ext cx="9148810" cy="5143501"/>
          </a:xfrm>
          <a:noFill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71600" y="2472629"/>
            <a:ext cx="5904656" cy="747193"/>
          </a:xfrm>
        </p:spPr>
        <p:txBody>
          <a:bodyPr anchor="t">
            <a:normAutofit fontScale="90000"/>
          </a:bodyPr>
          <a:lstStyle/>
          <a:p>
            <a:r>
              <a:rPr lang="de-DE" sz="3300" dirty="0"/>
              <a:t>Tutorium zur VL. Sitzung (Teil 18) 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  <p:custDataLst>
              <p:tags r:id="rId2"/>
            </p:custDataLst>
          </p:nvPr>
        </p:nvSpPr>
        <p:spPr>
          <a:xfrm>
            <a:off x="1116013" y="3418563"/>
            <a:ext cx="5472112" cy="1152525"/>
          </a:xfr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1pPr>
            <a:lvl2pPr marL="447675" indent="-28575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2pPr>
            <a:lvl3pPr marL="625475" indent="-2286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3pPr>
            <a:lvl4pPr marL="901700" indent="-2286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4pPr>
            <a:lvl5pPr marL="1165225" indent="-2286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5pPr>
            <a:lvl6pPr marL="2514600" indent="-228600" algn="l" defTabSz="914400" rtl="0" eaLnBrk="1" latinLnBrk="0" hangingPunct="1">
              <a:buFont typeface="Arial" panose="020B0604020202020204" pitchFamily="34" charset="0"/>
              <a:buChar char="•"/>
            </a:lvl6pPr>
            <a:lvl7pPr marL="2971800" indent="-228600" algn="l" defTabSz="914400" rtl="0" eaLnBrk="1" latinLnBrk="0" hangingPunct="1">
              <a:buFont typeface="Arial" panose="020B0604020202020204" pitchFamily="34" charset="0"/>
              <a:buChar char="•"/>
            </a:lvl7pPr>
            <a:lvl8pPr marL="3429000" indent="-228600" algn="l" defTabSz="914400" rtl="0" eaLnBrk="1" latinLnBrk="0" hangingPunct="1">
              <a:buFont typeface="Arial" panose="020B0604020202020204" pitchFamily="34" charset="0"/>
              <a:buChar char="•"/>
            </a:lvl8pPr>
            <a:lvl9pPr marL="3886200" indent="-228600" algn="l" defTabSz="914400" rtl="0" eaLnBrk="1" latinLnBrk="0" hangingPunct="1">
              <a:buFont typeface="Arial" panose="020B0604020202020204" pitchFamily="34" charset="0"/>
              <a:buChar char="•"/>
            </a:lvl9pPr>
          </a:lstStyle>
          <a:p>
            <a:pPr marL="0" indent="0">
              <a:lnSpc>
                <a:spcPct val="90000"/>
              </a:lnSpc>
              <a:buNone/>
            </a:pPr>
            <a:endParaRPr lang="de-DE" sz="1200" dirty="0"/>
          </a:p>
          <a:p>
            <a:pPr marL="0" indent="0">
              <a:lnSpc>
                <a:spcPct val="90000"/>
              </a:lnSpc>
              <a:buNone/>
            </a:pPr>
            <a:endParaRPr lang="de-DE" sz="1200" dirty="0"/>
          </a:p>
          <a:p>
            <a:pPr marL="0" indent="0">
              <a:lnSpc>
                <a:spcPct val="90000"/>
              </a:lnSpc>
              <a:buNone/>
            </a:pPr>
            <a:r>
              <a:rPr lang="de-DE" sz="2000" dirty="0"/>
              <a:t>Sozialstruktur und sozialer Wandel</a:t>
            </a:r>
            <a:endParaRPr lang="de-DE" sz="1200" dirty="0"/>
          </a:p>
          <a:p>
            <a:pPr marL="0" indent="0">
              <a:lnSpc>
                <a:spcPct val="90000"/>
              </a:lnSpc>
              <a:buNone/>
            </a:pPr>
            <a:endParaRPr lang="de-DE" sz="120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8809833B-99C6-4DE4-8502-C3CF07774921}"/>
              </a:ext>
            </a:extLst>
          </p:cNvPr>
          <p:cNvSpPr/>
          <p:nvPr/>
        </p:nvSpPr>
        <p:spPr>
          <a:xfrm>
            <a:off x="110846" y="169835"/>
            <a:ext cx="37410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dirty="0">
                <a:solidFill>
                  <a:schemeClr val="tx2"/>
                </a:solidFill>
                <a:latin typeface="Calibri-Bold"/>
              </a:rPr>
              <a:t>FAKULTÄT FÜR SOZIALWISSENSCHAFT</a:t>
            </a:r>
            <a:endParaRPr lang="de-DE" dirty="0">
              <a:solidFill>
                <a:schemeClr val="tx2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51731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738" y="121117"/>
            <a:ext cx="7560000" cy="468000"/>
          </a:xfrm>
        </p:spPr>
        <p:txBody>
          <a:bodyPr/>
          <a:lstStyle/>
          <a:p>
            <a:r>
              <a:rPr lang="de-DE" dirty="0"/>
              <a:t>Armut: Begleiterscheinung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1132" y="654832"/>
            <a:ext cx="9184565" cy="3829272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800" dirty="0">
                <a:solidFill>
                  <a:schemeClr val="accent2"/>
                </a:solidFill>
              </a:rPr>
              <a:t>Begleiterscheinungen:</a:t>
            </a:r>
          </a:p>
          <a:p>
            <a:pPr>
              <a:lnSpc>
                <a:spcPct val="100000"/>
              </a:lnSpc>
              <a:spcAft>
                <a:spcPts val="800"/>
              </a:spcAft>
            </a:pPr>
            <a:endParaRPr lang="de-DE" sz="1800" dirty="0">
              <a:solidFill>
                <a:schemeClr val="accent2"/>
              </a:solidFill>
            </a:endParaRPr>
          </a:p>
          <a:p>
            <a:pPr>
              <a:lnSpc>
                <a:spcPct val="100000"/>
              </a:lnSpc>
              <a:spcAft>
                <a:spcPts val="800"/>
              </a:spcAft>
            </a:pPr>
            <a:endParaRPr lang="de-DE" sz="1800" dirty="0">
              <a:solidFill>
                <a:schemeClr val="accent2"/>
              </a:solidFill>
            </a:endParaRP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Soziale </a:t>
            </a:r>
            <a:r>
              <a:rPr lang="de-DE" sz="1800" dirty="0"/>
              <a:t>Isolation</a:t>
            </a:r>
            <a:r>
              <a:rPr lang="de-DE" sz="1800" b="0" dirty="0"/>
              <a:t> (Soziale Integration oft über die Erwerbsarbeit) – Selbst &amp; Fremd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dirty="0"/>
              <a:t>Gesundheit</a:t>
            </a:r>
            <a:r>
              <a:rPr lang="de-DE" sz="1800" b="0" dirty="0"/>
              <a:t>liche Risiken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Eingeschränkte räumliche </a:t>
            </a:r>
            <a:r>
              <a:rPr lang="de-DE" sz="1800" dirty="0"/>
              <a:t>Mobilität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Geringere </a:t>
            </a:r>
            <a:r>
              <a:rPr lang="de-DE" sz="1800" dirty="0"/>
              <a:t>Bildungschancen</a:t>
            </a:r>
            <a:r>
              <a:rPr lang="de-DE" sz="1800" b="0" dirty="0"/>
              <a:t> für nächste Generation (‚Vererbung‘)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Mangelnde </a:t>
            </a:r>
            <a:r>
              <a:rPr lang="de-DE" sz="1800" dirty="0"/>
              <a:t>Anerkennung</a:t>
            </a:r>
            <a:r>
              <a:rPr lang="de-DE" sz="1800" b="0" dirty="0"/>
              <a:t> &amp; </a:t>
            </a:r>
            <a:r>
              <a:rPr lang="de-DE" sz="1800" dirty="0"/>
              <a:t>Scham</a:t>
            </a:r>
            <a:r>
              <a:rPr lang="de-DE" sz="1800" b="0" dirty="0"/>
              <a:t> und Stressbelastung 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dirty="0"/>
              <a:t>Politikverdrossenheit</a:t>
            </a:r>
            <a:r>
              <a:rPr lang="de-DE" sz="1800" b="0" dirty="0"/>
              <a:t> (Erwerbslose haben sehr schlechte Wahlbeteiligung)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…</a:t>
            </a:r>
          </a:p>
          <a:p>
            <a:pPr>
              <a:lnSpc>
                <a:spcPct val="100000"/>
              </a:lnSpc>
              <a:spcAft>
                <a:spcPts val="800"/>
              </a:spcAft>
            </a:pPr>
            <a:endParaRPr lang="de-DE" sz="1800" b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0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D58054C7-D715-F9EC-00B5-0671C3294F32}"/>
              </a:ext>
            </a:extLst>
          </p:cNvPr>
          <p:cNvSpPr/>
          <p:nvPr/>
        </p:nvSpPr>
        <p:spPr>
          <a:xfrm>
            <a:off x="2411760" y="1059582"/>
            <a:ext cx="4320480" cy="46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500" b="1" dirty="0"/>
              <a:t>Überlegt euch eine Begleiterscheinungen?</a:t>
            </a:r>
          </a:p>
        </p:txBody>
      </p:sp>
    </p:spTree>
    <p:extLst>
      <p:ext uri="{BB962C8B-B14F-4D97-AF65-F5344CB8AC3E}">
        <p14:creationId xmlns:p14="http://schemas.microsoft.com/office/powerpoint/2010/main" val="14271024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ernziele: vierzehnte Sitzung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768" y="1131590"/>
            <a:ext cx="8388232" cy="3795982"/>
          </a:xfrm>
        </p:spPr>
        <p:txBody>
          <a:bodyPr/>
          <a:lstStyle/>
          <a:p>
            <a:br>
              <a:rPr lang="de-DE" sz="2000" b="1" i="0" dirty="0">
                <a:solidFill>
                  <a:srgbClr val="212529"/>
                </a:solidFill>
                <a:effectLst/>
                <a:latin typeface="-apple-system"/>
              </a:rPr>
            </a:br>
            <a:endParaRPr lang="de-DE" sz="1800" i="1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1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BA1B0BA-704F-24A7-B06E-BD752B00306F}"/>
              </a:ext>
            </a:extLst>
          </p:cNvPr>
          <p:cNvSpPr txBox="1"/>
          <p:nvPr/>
        </p:nvSpPr>
        <p:spPr>
          <a:xfrm>
            <a:off x="576000" y="986700"/>
            <a:ext cx="7560000" cy="31700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000" b="0" dirty="0">
                <a:solidFill>
                  <a:schemeClr val="tx2"/>
                </a:solidFill>
              </a:rPr>
              <a:t>(1) Sie können </a:t>
            </a:r>
            <a:r>
              <a:rPr lang="de-DE" sz="2000" b="1" dirty="0">
                <a:solidFill>
                  <a:schemeClr val="tx2"/>
                </a:solidFill>
              </a:rPr>
              <a:t>zentrale Begrifflichkeiten </a:t>
            </a:r>
            <a:r>
              <a:rPr lang="de-DE" sz="2000" b="0" dirty="0">
                <a:solidFill>
                  <a:schemeClr val="tx2"/>
                </a:solidFill>
              </a:rPr>
              <a:t>der Bildungssoziologie, </a:t>
            </a:r>
            <a:r>
              <a:rPr lang="de-DE" sz="2000" b="1" i="1" dirty="0">
                <a:solidFill>
                  <a:schemeClr val="tx2"/>
                </a:solidFill>
              </a:rPr>
              <a:t>z.B. Einkommensarmut und Bildungsarmut </a:t>
            </a:r>
            <a:r>
              <a:rPr lang="de-DE" sz="2000" b="0" dirty="0">
                <a:solidFill>
                  <a:schemeClr val="tx2"/>
                </a:solidFill>
              </a:rPr>
              <a:t>definieren.</a:t>
            </a:r>
            <a:br>
              <a:rPr lang="de-DE" sz="2000" b="0" dirty="0">
                <a:solidFill>
                  <a:schemeClr val="tx2"/>
                </a:solidFill>
              </a:rPr>
            </a:br>
            <a:endParaRPr lang="de-DE" sz="2000" b="0" dirty="0">
              <a:solidFill>
                <a:schemeClr val="tx2"/>
              </a:solidFill>
            </a:endParaRPr>
          </a:p>
          <a:p>
            <a:r>
              <a:rPr lang="de-DE" sz="2000" b="0" dirty="0">
                <a:solidFill>
                  <a:schemeClr val="tx2"/>
                </a:solidFill>
              </a:rPr>
              <a:t>(2) Sie wissen, wie </a:t>
            </a:r>
            <a:r>
              <a:rPr lang="de-DE" sz="2000" b="1" dirty="0">
                <a:solidFill>
                  <a:schemeClr val="tx2"/>
                </a:solidFill>
              </a:rPr>
              <a:t>Armut in </a:t>
            </a:r>
            <a:r>
              <a:rPr lang="de-DE" sz="2000" b="0" dirty="0">
                <a:solidFill>
                  <a:schemeClr val="tx2"/>
                </a:solidFill>
              </a:rPr>
              <a:t>verschiedenen </a:t>
            </a:r>
            <a:r>
              <a:rPr lang="de-DE" sz="2000" b="1" dirty="0">
                <a:solidFill>
                  <a:schemeClr val="tx2"/>
                </a:solidFill>
              </a:rPr>
              <a:t>wohlfahrtsgesellschaftlichen Kontexten gemessen </a:t>
            </a:r>
            <a:r>
              <a:rPr lang="de-DE" sz="2000" b="0" dirty="0">
                <a:solidFill>
                  <a:schemeClr val="tx2"/>
                </a:solidFill>
              </a:rPr>
              <a:t>wird</a:t>
            </a:r>
          </a:p>
          <a:p>
            <a:endParaRPr lang="de-DE" sz="2000" b="0" dirty="0">
              <a:solidFill>
                <a:schemeClr val="tx2"/>
              </a:solidFill>
            </a:endParaRPr>
          </a:p>
          <a:p>
            <a:r>
              <a:rPr lang="de-DE" sz="2000" b="0" dirty="0">
                <a:solidFill>
                  <a:schemeClr val="tx2"/>
                </a:solidFill>
              </a:rPr>
              <a:t>(3) Sie kennen die hauptsächlich von Armut betroffenen </a:t>
            </a:r>
            <a:r>
              <a:rPr lang="de-DE" sz="2000" b="1" dirty="0">
                <a:solidFill>
                  <a:schemeClr val="tx2"/>
                </a:solidFill>
              </a:rPr>
              <a:t>Risikogruppen</a:t>
            </a:r>
            <a:r>
              <a:rPr lang="de-DE" sz="2000" b="0" dirty="0">
                <a:solidFill>
                  <a:schemeClr val="tx2"/>
                </a:solidFill>
              </a:rPr>
              <a:t>, die </a:t>
            </a:r>
            <a:r>
              <a:rPr lang="de-DE" sz="2000" b="1" dirty="0">
                <a:solidFill>
                  <a:schemeClr val="tx2"/>
                </a:solidFill>
              </a:rPr>
              <a:t>individuelle Begleiterscheinungen </a:t>
            </a:r>
            <a:r>
              <a:rPr lang="de-DE" sz="2000" b="0" dirty="0">
                <a:solidFill>
                  <a:schemeClr val="tx2"/>
                </a:solidFill>
              </a:rPr>
              <a:t>von Armut und </a:t>
            </a:r>
            <a:r>
              <a:rPr lang="de-DE" sz="2000" b="1" dirty="0">
                <a:solidFill>
                  <a:schemeClr val="tx2"/>
                </a:solidFill>
              </a:rPr>
              <a:t>aktuelle Trends </a:t>
            </a:r>
            <a:r>
              <a:rPr lang="de-DE" sz="2000" dirty="0">
                <a:solidFill>
                  <a:schemeClr val="tx2"/>
                </a:solidFill>
              </a:rPr>
              <a:t>der</a:t>
            </a:r>
            <a:r>
              <a:rPr lang="de-DE" sz="2000" b="1" dirty="0">
                <a:solidFill>
                  <a:schemeClr val="tx2"/>
                </a:solidFill>
              </a:rPr>
              <a:t> Armutsentwicklung</a:t>
            </a:r>
            <a:r>
              <a:rPr lang="de-DE" sz="2000" b="0" dirty="0">
                <a:solidFill>
                  <a:schemeClr val="tx2"/>
                </a:solidFill>
              </a:rPr>
              <a:t>.</a:t>
            </a:r>
            <a:endParaRPr lang="de-DE" sz="20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49567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sblick: nächste Sitzung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000" y="918000"/>
            <a:ext cx="8280464" cy="3366000"/>
          </a:xfrm>
        </p:spPr>
        <p:txBody>
          <a:bodyPr/>
          <a:lstStyle/>
          <a:p>
            <a:pPr>
              <a:lnSpc>
                <a:spcPct val="100000"/>
              </a:lnSpc>
            </a:pPr>
            <a:endParaRPr lang="de-DE" sz="1800" b="0" strike="sngStrike" dirty="0">
              <a:sym typeface="Wingdings" panose="05000000000000000000" pitchFamily="2" charset="2"/>
            </a:endParaRPr>
          </a:p>
          <a:p>
            <a:pPr>
              <a:lnSpc>
                <a:spcPct val="200000"/>
              </a:lnSpc>
            </a:pPr>
            <a:endParaRPr lang="de-DE" sz="1800" b="0" dirty="0">
              <a:sym typeface="Wingdings" panose="05000000000000000000" pitchFamily="2" charset="2"/>
            </a:endParaRP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b="0" dirty="0"/>
          </a:p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2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8CD78BF-FD21-4273-AC08-8CC747F9071D}"/>
              </a:ext>
            </a:extLst>
          </p:cNvPr>
          <p:cNvSpPr txBox="1"/>
          <p:nvPr/>
        </p:nvSpPr>
        <p:spPr>
          <a:xfrm>
            <a:off x="537190" y="1059582"/>
            <a:ext cx="7421619" cy="1287532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800" dirty="0">
                <a:solidFill>
                  <a:schemeClr val="tx2"/>
                </a:solidFill>
              </a:rPr>
              <a:t>Was kommt…?</a:t>
            </a:r>
          </a:p>
          <a:p>
            <a:pPr>
              <a:lnSpc>
                <a:spcPct val="150000"/>
              </a:lnSpc>
            </a:pPr>
            <a:endParaRPr lang="de-DE" sz="1800" dirty="0">
              <a:solidFill>
                <a:schemeClr val="tx2"/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b="1" dirty="0">
                <a:solidFill>
                  <a:schemeClr val="accent2"/>
                </a:solidFill>
              </a:rPr>
              <a:t>Klausurtutorium</a:t>
            </a:r>
            <a:r>
              <a:rPr lang="de-DE" sz="1800" b="1" dirty="0">
                <a:solidFill>
                  <a:schemeClr val="tx2"/>
                </a:solidFill>
              </a:rPr>
              <a:t> </a:t>
            </a:r>
            <a:r>
              <a:rPr lang="de-DE" sz="1800" dirty="0">
                <a:solidFill>
                  <a:schemeClr val="tx2"/>
                </a:solidFill>
              </a:rPr>
              <a:t>(</a:t>
            </a:r>
            <a:r>
              <a:rPr lang="de-DE" sz="1800" b="1" dirty="0">
                <a:solidFill>
                  <a:schemeClr val="tx2"/>
                </a:solidFill>
              </a:rPr>
              <a:t>Dienstag</a:t>
            </a:r>
            <a:r>
              <a:rPr lang="de-DE" sz="1800" dirty="0">
                <a:solidFill>
                  <a:schemeClr val="tx2"/>
                </a:solidFill>
              </a:rPr>
              <a:t> 07.02.23 um </a:t>
            </a:r>
            <a:r>
              <a:rPr lang="de-DE" sz="1800" b="1" dirty="0">
                <a:solidFill>
                  <a:schemeClr val="tx2"/>
                </a:solidFill>
              </a:rPr>
              <a:t>12:15 Uhr </a:t>
            </a:r>
            <a:r>
              <a:rPr lang="de-DE" sz="1800" dirty="0">
                <a:solidFill>
                  <a:schemeClr val="tx2"/>
                </a:solidFill>
              </a:rPr>
              <a:t>in </a:t>
            </a:r>
            <a:r>
              <a:rPr lang="de-DE" sz="1800" b="1" dirty="0">
                <a:solidFill>
                  <a:schemeClr val="tx2"/>
                </a:solidFill>
              </a:rPr>
              <a:t>GD 1/156</a:t>
            </a:r>
            <a:r>
              <a:rPr lang="de-DE" sz="1800" dirty="0">
                <a:solidFill>
                  <a:schemeClr val="tx2"/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4564136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738" y="121117"/>
            <a:ext cx="7560000" cy="468000"/>
          </a:xfrm>
        </p:spPr>
        <p:txBody>
          <a:bodyPr/>
          <a:lstStyle/>
          <a:p>
            <a:r>
              <a:rPr lang="de-DE" dirty="0"/>
              <a:t>Armut: Sichtweisen auf Armut -Ergänz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2768" y="686694"/>
            <a:ext cx="8829752" cy="3613248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800" dirty="0"/>
              <a:t>Vier Sichtweisen auf Armut</a:t>
            </a:r>
          </a:p>
          <a:p>
            <a:pPr>
              <a:lnSpc>
                <a:spcPct val="100000"/>
              </a:lnSpc>
              <a:spcAft>
                <a:spcPts val="800"/>
              </a:spcAft>
            </a:pPr>
            <a:endParaRPr lang="de-DE" sz="1800" dirty="0"/>
          </a:p>
          <a:p>
            <a:pPr>
              <a:lnSpc>
                <a:spcPct val="100000"/>
              </a:lnSpc>
              <a:spcAft>
                <a:spcPts val="800"/>
              </a:spcAft>
            </a:pPr>
            <a:endParaRPr lang="de-DE" sz="1800" b="0" dirty="0"/>
          </a:p>
          <a:p>
            <a:pPr>
              <a:lnSpc>
                <a:spcPct val="100000"/>
              </a:lnSpc>
              <a:spcAft>
                <a:spcPts val="800"/>
              </a:spcAft>
            </a:pPr>
            <a:endParaRPr lang="de-DE" sz="1800" b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3</a:t>
            </a:fld>
            <a:r>
              <a:rPr lang="de-DE"/>
              <a:t> </a:t>
            </a:r>
            <a:endParaRPr lang="de-DE" dirty="0"/>
          </a:p>
        </p:txBody>
      </p:sp>
      <p:graphicFrame>
        <p:nvGraphicFramePr>
          <p:cNvPr id="6" name="Tabelle 6">
            <a:extLst>
              <a:ext uri="{FF2B5EF4-FFF2-40B4-BE49-F238E27FC236}">
                <a16:creationId xmlns:a16="http://schemas.microsoft.com/office/drawing/2014/main" id="{B0F12EBF-99C2-F24A-44EC-F73709C17A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763028"/>
              </p:ext>
            </p:extLst>
          </p:nvPr>
        </p:nvGraphicFramePr>
        <p:xfrm>
          <a:off x="720000" y="1284272"/>
          <a:ext cx="7272808" cy="29998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36404">
                  <a:extLst>
                    <a:ext uri="{9D8B030D-6E8A-4147-A177-3AD203B41FA5}">
                      <a16:colId xmlns:a16="http://schemas.microsoft.com/office/drawing/2014/main" val="1674077356"/>
                    </a:ext>
                  </a:extLst>
                </a:gridCol>
                <a:gridCol w="3636404">
                  <a:extLst>
                    <a:ext uri="{9D8B030D-6E8A-4147-A177-3AD203B41FA5}">
                      <a16:colId xmlns:a16="http://schemas.microsoft.com/office/drawing/2014/main" val="710476460"/>
                    </a:ext>
                  </a:extLst>
                </a:gridCol>
              </a:tblGrid>
              <a:tr h="478856">
                <a:tc>
                  <a:txBody>
                    <a:bodyPr/>
                    <a:lstStyle/>
                    <a:p>
                      <a:r>
                        <a:rPr lang="de-DE" sz="1800" dirty="0"/>
                        <a:t>Vier Sichtweisen auf relative Armut (Groh-</a:t>
                      </a:r>
                      <a:r>
                        <a:rPr lang="de-DE" sz="1800" dirty="0" err="1"/>
                        <a:t>Samberg</a:t>
                      </a:r>
                      <a:r>
                        <a:rPr lang="de-DE" sz="1800" dirty="0"/>
                        <a:t>/ Voge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800" dirty="0"/>
                        <a:t>Bestimmu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4272919"/>
                  </a:ext>
                </a:extLst>
              </a:tr>
              <a:tr h="478856">
                <a:tc>
                  <a:txBody>
                    <a:bodyPr/>
                    <a:lstStyle/>
                    <a:p>
                      <a:r>
                        <a:rPr lang="de-DE" sz="1600" b="1" dirty="0"/>
                        <a:t>1. Politisch definierte Armut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b="1" dirty="0"/>
                        <a:t>Ressourcenmangel durch Bedürftigkeitsprüfu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4910458"/>
                  </a:ext>
                </a:extLst>
              </a:tr>
              <a:tr h="478856">
                <a:tc>
                  <a:txBody>
                    <a:bodyPr/>
                    <a:lstStyle/>
                    <a:p>
                      <a:r>
                        <a:rPr lang="de-DE" sz="1600" b="1" dirty="0"/>
                        <a:t>2. Einkommensarmu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b="1" dirty="0"/>
                        <a:t>Einkommensschwel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8133376"/>
                  </a:ext>
                </a:extLst>
              </a:tr>
              <a:tr h="478856">
                <a:tc>
                  <a:txBody>
                    <a:bodyPr/>
                    <a:lstStyle/>
                    <a:p>
                      <a:r>
                        <a:rPr lang="de-DE" sz="1600" b="1" dirty="0"/>
                        <a:t>3. Lebens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b="1" dirty="0"/>
                        <a:t>Einkomm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1827844"/>
                  </a:ext>
                </a:extLst>
              </a:tr>
              <a:tr h="478856">
                <a:tc>
                  <a:txBody>
                    <a:bodyPr/>
                    <a:lstStyle/>
                    <a:p>
                      <a:r>
                        <a:rPr lang="de-DE" sz="1600" b="1" dirty="0"/>
                        <a:t>4. Lebenslage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b="1" dirty="0"/>
                        <a:t>Multidimensional – Unterversorgung in Lebensbereich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765053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152329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738" y="121117"/>
            <a:ext cx="7560000" cy="468000"/>
          </a:xfrm>
        </p:spPr>
        <p:txBody>
          <a:bodyPr/>
          <a:lstStyle/>
          <a:p>
            <a:r>
              <a:rPr lang="de-DE" dirty="0"/>
              <a:t>Armut: Definitio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2768" y="686694"/>
            <a:ext cx="8298464" cy="3613248"/>
          </a:xfrm>
        </p:spPr>
        <p:txBody>
          <a:bodyPr/>
          <a:lstStyle/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Auch als </a:t>
            </a:r>
            <a:r>
              <a:rPr lang="de-DE" sz="1800" dirty="0"/>
              <a:t>soziale Ausgrenzung </a:t>
            </a:r>
            <a:r>
              <a:rPr lang="de-DE" sz="1800" b="0" dirty="0"/>
              <a:t>begreifbar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 Begriff zur Beschreibung von </a:t>
            </a:r>
            <a:r>
              <a:rPr lang="de-DE" sz="1800" dirty="0"/>
              <a:t>„ 1) ökonomischer &amp; 2) sozialer Randlagen“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Systematische Unterscheidung zwischen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1) </a:t>
            </a:r>
            <a:r>
              <a:rPr lang="de-DE" sz="1800" dirty="0"/>
              <a:t>Freiwilliger Armut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= gewählter bescheidener Lebensstil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oft Religiöse Verknüpfungen (z.B. Hinduismus, Jesus Christus)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2) </a:t>
            </a:r>
            <a:r>
              <a:rPr lang="de-DE" sz="1800" dirty="0">
                <a:solidFill>
                  <a:schemeClr val="accent2"/>
                </a:solidFill>
              </a:rPr>
              <a:t>Absolute </a:t>
            </a:r>
            <a:r>
              <a:rPr lang="de-DE" sz="1800" dirty="0"/>
              <a:t>Armut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3) </a:t>
            </a:r>
            <a:r>
              <a:rPr lang="de-DE" sz="1800" dirty="0">
                <a:solidFill>
                  <a:schemeClr val="accent2"/>
                </a:solidFill>
              </a:rPr>
              <a:t>Relative</a:t>
            </a:r>
            <a:r>
              <a:rPr lang="de-DE" sz="1800" dirty="0"/>
              <a:t> Armut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2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650517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738" y="121117"/>
            <a:ext cx="7560000" cy="468000"/>
          </a:xfrm>
        </p:spPr>
        <p:txBody>
          <a:bodyPr/>
          <a:lstStyle/>
          <a:p>
            <a:r>
              <a:rPr lang="de-DE" dirty="0"/>
              <a:t>Armut: Definitio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2768" y="686694"/>
            <a:ext cx="8613728" cy="3901280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800" b="0" dirty="0"/>
              <a:t>2) </a:t>
            </a:r>
            <a:r>
              <a:rPr lang="de-DE" sz="1800" dirty="0">
                <a:solidFill>
                  <a:schemeClr val="accent2"/>
                </a:solidFill>
              </a:rPr>
              <a:t>Absolute</a:t>
            </a:r>
            <a:r>
              <a:rPr lang="de-DE" sz="1800" dirty="0"/>
              <a:t> Armut</a:t>
            </a:r>
          </a:p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800" b="0" dirty="0"/>
              <a:t>= </a:t>
            </a:r>
            <a:r>
              <a:rPr lang="de-DE" sz="1800" dirty="0"/>
              <a:t>Unterschreitung</a:t>
            </a:r>
            <a:r>
              <a:rPr lang="de-DE" sz="1800" b="0" dirty="0"/>
              <a:t> absoluten </a:t>
            </a:r>
            <a:r>
              <a:rPr lang="de-DE" sz="1800" dirty="0"/>
              <a:t>physischen Existenzminimums </a:t>
            </a:r>
          </a:p>
          <a:p>
            <a:pPr marL="342900" indent="-34290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Umfasst etwa </a:t>
            </a:r>
            <a:r>
              <a:rPr lang="de-DE" sz="1800" dirty="0"/>
              <a:t>1.25 US-Dollar </a:t>
            </a:r>
            <a:r>
              <a:rPr lang="de-DE" sz="1800" b="0" dirty="0"/>
              <a:t>p Tag (laut Weltbank)  </a:t>
            </a:r>
            <a:r>
              <a:rPr lang="de-DE" sz="1800" b="0" dirty="0">
                <a:sym typeface="Wingdings" panose="05000000000000000000" pitchFamily="2" charset="2"/>
              </a:rPr>
              <a:t> 1,2 Mrd. Menschen</a:t>
            </a:r>
            <a:endParaRPr lang="de-DE" sz="1800" b="0" dirty="0"/>
          </a:p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800" b="0" dirty="0"/>
              <a:t>Indikatoren: </a:t>
            </a:r>
          </a:p>
          <a:p>
            <a:pPr marL="576900" lvl="2" indent="-34290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600" b="0" dirty="0"/>
              <a:t>Hunger bzw. Unterernährung </a:t>
            </a:r>
          </a:p>
          <a:p>
            <a:pPr marL="576900" lvl="2" indent="-34290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600" b="0" dirty="0"/>
              <a:t>Flucht und Vertreibung</a:t>
            </a:r>
          </a:p>
          <a:p>
            <a:pPr marL="576900" lvl="2" indent="-34290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600" b="0" dirty="0"/>
              <a:t>Obdachlosigkeit </a:t>
            </a:r>
          </a:p>
          <a:p>
            <a:pPr marL="576900" lvl="2" indent="-34290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600" dirty="0"/>
              <a:t>Mangelnde medizinische Versorgung</a:t>
            </a:r>
            <a:r>
              <a:rPr lang="de-DE" sz="1600" b="0" dirty="0"/>
              <a:t>…</a:t>
            </a:r>
          </a:p>
          <a:p>
            <a:pPr lvl="2" indent="0">
              <a:lnSpc>
                <a:spcPct val="100000"/>
              </a:lnSpc>
              <a:spcAft>
                <a:spcPts val="800"/>
              </a:spcAft>
              <a:buNone/>
            </a:pPr>
            <a:endParaRPr lang="de-DE" sz="1600" b="0" dirty="0"/>
          </a:p>
          <a:p>
            <a:pPr lvl="2" indent="0">
              <a:lnSpc>
                <a:spcPct val="100000"/>
              </a:lnSpc>
              <a:spcAft>
                <a:spcPts val="800"/>
              </a:spcAft>
              <a:buNone/>
            </a:pPr>
            <a:r>
              <a:rPr lang="de-DE" sz="1800" b="0" dirty="0">
                <a:sym typeface="Wingdings" panose="05000000000000000000" pitchFamily="2" charset="2"/>
              </a:rPr>
              <a:t> Praktisch kaum vorhanden in Wohlfahrtsgesellschaften, viel in Entwicklungsländern</a:t>
            </a:r>
            <a:endParaRPr lang="de-DE" sz="18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3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793202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738" y="121117"/>
            <a:ext cx="7560000" cy="468000"/>
          </a:xfrm>
        </p:spPr>
        <p:txBody>
          <a:bodyPr/>
          <a:lstStyle/>
          <a:p>
            <a:r>
              <a:rPr lang="de-DE" dirty="0"/>
              <a:t>Armut: Definitio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2768" y="624882"/>
            <a:ext cx="8829752" cy="3829272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800" b="0" dirty="0"/>
              <a:t>3) </a:t>
            </a:r>
            <a:r>
              <a:rPr lang="de-DE" sz="1800" dirty="0">
                <a:solidFill>
                  <a:schemeClr val="accent2"/>
                </a:solidFill>
              </a:rPr>
              <a:t>Relative</a:t>
            </a:r>
            <a:r>
              <a:rPr lang="de-DE" sz="1800" dirty="0"/>
              <a:t> Armut</a:t>
            </a:r>
          </a:p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800" b="0" dirty="0"/>
              <a:t>= Person kann </a:t>
            </a:r>
            <a:r>
              <a:rPr lang="de-DE" sz="1800" dirty="0"/>
              <a:t>Lebensstandard</a:t>
            </a:r>
            <a:r>
              <a:rPr lang="de-DE" sz="1800" b="0" dirty="0"/>
              <a:t> </a:t>
            </a:r>
            <a:r>
              <a:rPr lang="de-DE" sz="1800" dirty="0"/>
              <a:t>nicht</a:t>
            </a:r>
            <a:r>
              <a:rPr lang="de-DE" sz="1800" b="0" dirty="0"/>
              <a:t> mit eigenen Kräften bestreiten  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Lebensstandard </a:t>
            </a:r>
            <a:r>
              <a:rPr lang="de-DE" sz="1800" dirty="0"/>
              <a:t>richtet sich nach </a:t>
            </a:r>
            <a:r>
              <a:rPr lang="de-DE" sz="1800" b="0" dirty="0"/>
              <a:t>einem</a:t>
            </a:r>
            <a:r>
              <a:rPr lang="de-DE" sz="1800" dirty="0"/>
              <a:t> Mindestbedarf</a:t>
            </a:r>
            <a:r>
              <a:rPr lang="de-DE" sz="1800" b="0" dirty="0"/>
              <a:t> / Existenzminimum</a:t>
            </a:r>
          </a:p>
          <a:p>
            <a:pPr algn="ctr">
              <a:lnSpc>
                <a:spcPct val="100000"/>
              </a:lnSpc>
              <a:spcAft>
                <a:spcPts val="800"/>
              </a:spcAft>
            </a:pPr>
            <a:r>
              <a:rPr lang="de-DE" sz="1800" i="1" dirty="0"/>
              <a:t> „Also im Vergleich zum Mindeststandard von DE arm“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Umfasst vor allem Einkommensarmut</a:t>
            </a:r>
          </a:p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800" dirty="0"/>
              <a:t>Kontextbezogener</a:t>
            </a:r>
            <a:r>
              <a:rPr lang="de-DE" sz="1800" b="0" dirty="0"/>
              <a:t> Armutsbegriff in EU: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dirty="0"/>
              <a:t>Im europäischer</a:t>
            </a:r>
            <a:r>
              <a:rPr lang="de-DE" sz="1800" b="0" dirty="0"/>
              <a:t> Kontext „Arm wer“: </a:t>
            </a:r>
            <a:r>
              <a:rPr lang="de-DE" sz="1800" dirty="0">
                <a:solidFill>
                  <a:schemeClr val="accent2"/>
                </a:solidFill>
              </a:rPr>
              <a:t>über</a:t>
            </a:r>
            <a:r>
              <a:rPr lang="de-DE" sz="1800" b="0" dirty="0"/>
              <a:t> </a:t>
            </a:r>
            <a:r>
              <a:rPr lang="de-DE" sz="1800" dirty="0">
                <a:solidFill>
                  <a:schemeClr val="accent2"/>
                </a:solidFill>
              </a:rPr>
              <a:t>weniger als</a:t>
            </a:r>
            <a:r>
              <a:rPr lang="de-DE" sz="1800" b="0" dirty="0">
                <a:solidFill>
                  <a:schemeClr val="accent2"/>
                </a:solidFill>
              </a:rPr>
              <a:t> </a:t>
            </a:r>
            <a:r>
              <a:rPr lang="de-DE" sz="1800" dirty="0">
                <a:solidFill>
                  <a:schemeClr val="accent2"/>
                </a:solidFill>
              </a:rPr>
              <a:t>60% </a:t>
            </a:r>
            <a:r>
              <a:rPr lang="de-DE" sz="1800" dirty="0"/>
              <a:t>des </a:t>
            </a:r>
            <a:r>
              <a:rPr lang="de-DE" sz="1800" dirty="0">
                <a:solidFill>
                  <a:schemeClr val="accent2"/>
                </a:solidFill>
              </a:rPr>
              <a:t>Medians vom Nettoäquivalenzeinkommen verfügt</a:t>
            </a:r>
            <a:endParaRPr lang="de-DE" sz="1800" b="0" dirty="0">
              <a:solidFill>
                <a:schemeClr val="accent2"/>
              </a:solidFill>
            </a:endParaRP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100" b="0" dirty="0"/>
              <a:t>(Nettoäquivalenzeinkommen= Bedarfsgewichtetes Haushaltsnettoeinkommen) </a:t>
            </a:r>
            <a:r>
              <a:rPr lang="de-DE" sz="1100" b="0" dirty="0">
                <a:sym typeface="Wingdings" panose="05000000000000000000" pitchFamily="2" charset="2"/>
              </a:rPr>
              <a:t> </a:t>
            </a:r>
            <a:r>
              <a:rPr lang="de-DE" sz="1100" b="0" dirty="0"/>
              <a:t>(sprich: Einkommen nach Steuer- und Sozialabgaben, Gewichtet durch Köpfe pro Haushalt)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100" b="0" dirty="0"/>
              <a:t>(Median= Die Mitte aller aufgereihten Einkommen)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>
              <a:lnSpc>
                <a:spcPct val="100000"/>
              </a:lnSpc>
              <a:spcAft>
                <a:spcPts val="800"/>
              </a:spcAft>
            </a:pPr>
            <a:endParaRPr lang="de-DE" sz="1800" b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4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22452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738" y="121117"/>
            <a:ext cx="7560000" cy="468000"/>
          </a:xfrm>
        </p:spPr>
        <p:txBody>
          <a:bodyPr/>
          <a:lstStyle/>
          <a:p>
            <a:r>
              <a:rPr lang="de-DE" dirty="0"/>
              <a:t>Armut: Definitio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2768" y="717780"/>
            <a:ext cx="8829752" cy="3829272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800" b="0" dirty="0"/>
              <a:t>Ziel </a:t>
            </a:r>
            <a:r>
              <a:rPr lang="de-DE" sz="1800" dirty="0">
                <a:solidFill>
                  <a:schemeClr val="accent2"/>
                </a:solidFill>
              </a:rPr>
              <a:t>Armutsbekämpfung</a:t>
            </a:r>
            <a:r>
              <a:rPr lang="de-DE" sz="1800" b="0" dirty="0"/>
              <a:t> in DE: 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Wahrung von </a:t>
            </a:r>
            <a:r>
              <a:rPr lang="de-DE" sz="1800" dirty="0"/>
              <a:t>Mindestniveau</a:t>
            </a:r>
            <a:r>
              <a:rPr lang="de-DE" sz="1800" b="0" dirty="0"/>
              <a:t> an </a:t>
            </a:r>
            <a:r>
              <a:rPr lang="de-DE" sz="1800" dirty="0"/>
              <a:t>sozialer Teilhabe</a:t>
            </a:r>
          </a:p>
          <a:p>
            <a:pPr>
              <a:lnSpc>
                <a:spcPct val="100000"/>
              </a:lnSpc>
              <a:spcAft>
                <a:spcPts val="800"/>
              </a:spcAft>
            </a:pPr>
            <a:endParaRPr lang="de-DE" sz="1800" b="0" dirty="0">
              <a:solidFill>
                <a:schemeClr val="accent2"/>
              </a:solidFill>
            </a:endParaRPr>
          </a:p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800" dirty="0">
                <a:solidFill>
                  <a:schemeClr val="accent2"/>
                </a:solidFill>
              </a:rPr>
              <a:t>Messprobleme</a:t>
            </a:r>
            <a:r>
              <a:rPr lang="de-DE" sz="1800" dirty="0"/>
              <a:t> Armutsforschung: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Neben Einkommen können weitere </a:t>
            </a:r>
            <a:r>
              <a:rPr lang="de-DE" sz="1800" dirty="0"/>
              <a:t>Faktoren</a:t>
            </a:r>
            <a:r>
              <a:rPr lang="de-DE" sz="1800" b="0" dirty="0"/>
              <a:t> die </a:t>
            </a:r>
            <a:r>
              <a:rPr lang="de-DE" sz="1800" dirty="0"/>
              <a:t>objektive Einkommensarmut abhalten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i="1" dirty="0"/>
              <a:t>z.B. Erbe, finanzielle Unterstützung durch Dritte (z.B. Eltern) </a:t>
            </a:r>
            <a:endParaRPr lang="de-DE" sz="1800" i="1" dirty="0"/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Neben Einkommen tragen auch weitere </a:t>
            </a:r>
            <a:r>
              <a:rPr lang="de-DE" sz="1800" dirty="0"/>
              <a:t>Faktoren</a:t>
            </a:r>
            <a:r>
              <a:rPr lang="de-DE" sz="1800" b="0" dirty="0"/>
              <a:t> zum </a:t>
            </a:r>
            <a:r>
              <a:rPr lang="de-DE" sz="1800" dirty="0"/>
              <a:t>subjektivem Armutsempfinden</a:t>
            </a:r>
            <a:r>
              <a:rPr lang="de-DE" sz="1800" b="0" dirty="0"/>
              <a:t> bei 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i="1" dirty="0"/>
              <a:t>z.B. Wohnumfeld, Gesundheitsversorgung</a:t>
            </a:r>
            <a:endParaRPr lang="de-DE" sz="1100" b="0" i="1" dirty="0"/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>
              <a:lnSpc>
                <a:spcPct val="100000"/>
              </a:lnSpc>
              <a:spcAft>
                <a:spcPts val="800"/>
              </a:spcAft>
            </a:pPr>
            <a:endParaRPr lang="de-DE" sz="1800" b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5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01773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738" y="121117"/>
            <a:ext cx="7560000" cy="468000"/>
          </a:xfrm>
        </p:spPr>
        <p:txBody>
          <a:bodyPr/>
          <a:lstStyle/>
          <a:p>
            <a:r>
              <a:rPr lang="de-DE" dirty="0"/>
              <a:t>Armut: Konzept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2768" y="686694"/>
            <a:ext cx="8829752" cy="3613248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800" dirty="0"/>
              <a:t>Konzepte zur Differenzierung von Armut</a:t>
            </a:r>
          </a:p>
          <a:p>
            <a:pPr>
              <a:lnSpc>
                <a:spcPct val="100000"/>
              </a:lnSpc>
              <a:spcAft>
                <a:spcPts val="800"/>
              </a:spcAft>
            </a:pPr>
            <a:endParaRPr lang="de-DE" sz="1800" dirty="0"/>
          </a:p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800" dirty="0">
                <a:solidFill>
                  <a:schemeClr val="accent2"/>
                </a:solidFill>
              </a:rPr>
              <a:t>Erstes Konzept</a:t>
            </a:r>
            <a:r>
              <a:rPr lang="de-DE" sz="1800" dirty="0"/>
              <a:t>:</a:t>
            </a:r>
          </a:p>
          <a:p>
            <a:pPr marL="342900" indent="-342900">
              <a:lnSpc>
                <a:spcPct val="100000"/>
              </a:lnSpc>
              <a:spcAft>
                <a:spcPts val="800"/>
              </a:spcAft>
              <a:buAutoNum type="arabicParenR"/>
            </a:pPr>
            <a:r>
              <a:rPr lang="de-DE" sz="1800" b="0" dirty="0"/>
              <a:t>Primäre Armut = </a:t>
            </a:r>
            <a:r>
              <a:rPr lang="de-DE" sz="1800" dirty="0"/>
              <a:t>Ressourcenarmut</a:t>
            </a:r>
          </a:p>
          <a:p>
            <a:pPr marL="342900" indent="-342900">
              <a:lnSpc>
                <a:spcPct val="100000"/>
              </a:lnSpc>
              <a:spcAft>
                <a:spcPts val="800"/>
              </a:spcAft>
              <a:buAutoNum type="arabicParenR"/>
            </a:pPr>
            <a:r>
              <a:rPr lang="de-DE" sz="1800" b="0" dirty="0"/>
              <a:t>Sekundäre Armut = </a:t>
            </a:r>
            <a:r>
              <a:rPr lang="de-DE" sz="1800" dirty="0"/>
              <a:t>Ineffiziente</a:t>
            </a:r>
            <a:r>
              <a:rPr lang="de-DE" sz="1800" b="0" dirty="0"/>
              <a:t> Ressourcennutzung</a:t>
            </a:r>
          </a:p>
          <a:p>
            <a:pPr>
              <a:lnSpc>
                <a:spcPct val="100000"/>
              </a:lnSpc>
              <a:spcAft>
                <a:spcPts val="800"/>
              </a:spcAft>
            </a:pPr>
            <a:endParaRPr lang="de-DE" sz="1800" b="0" dirty="0"/>
          </a:p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800" dirty="0">
                <a:solidFill>
                  <a:schemeClr val="accent2"/>
                </a:solidFill>
              </a:rPr>
              <a:t>Zweites Konzept</a:t>
            </a:r>
            <a:r>
              <a:rPr lang="de-DE" sz="1800" dirty="0"/>
              <a:t>:</a:t>
            </a:r>
          </a:p>
          <a:p>
            <a:pPr marL="342900" indent="-34290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AutoNum type="arabicParenR"/>
            </a:pPr>
            <a:r>
              <a:rPr lang="de-DE" sz="1800" b="0" dirty="0"/>
              <a:t>Primäre Armut = unzureichende </a:t>
            </a:r>
            <a:r>
              <a:rPr lang="de-DE" sz="1800" dirty="0"/>
              <a:t>Güterausstattung</a:t>
            </a:r>
            <a:r>
              <a:rPr lang="de-DE" sz="1800" b="0" dirty="0"/>
              <a:t> (Nahrung, Wohnen, Kleidung)</a:t>
            </a:r>
          </a:p>
          <a:p>
            <a:pPr marL="342900" indent="-342900">
              <a:lnSpc>
                <a:spcPct val="100000"/>
              </a:lnSpc>
              <a:spcAft>
                <a:spcPts val="800"/>
              </a:spcAft>
              <a:buAutoNum type="arabicParenR"/>
            </a:pPr>
            <a:r>
              <a:rPr lang="de-DE" sz="1800" b="0" dirty="0"/>
              <a:t>Sekundäre Armut = </a:t>
            </a:r>
            <a:r>
              <a:rPr lang="de-DE" sz="1800" dirty="0"/>
              <a:t>subjektive</a:t>
            </a:r>
            <a:r>
              <a:rPr lang="de-DE" sz="1800" b="0" dirty="0"/>
              <a:t> empfundene und </a:t>
            </a:r>
            <a:r>
              <a:rPr lang="de-DE" sz="1800" dirty="0"/>
              <a:t>Mangelsituationen</a:t>
            </a:r>
          </a:p>
          <a:p>
            <a:pPr marL="342900" indent="-342900">
              <a:lnSpc>
                <a:spcPct val="100000"/>
              </a:lnSpc>
              <a:spcAft>
                <a:spcPts val="800"/>
              </a:spcAft>
              <a:buAutoNum type="arabicParenR"/>
            </a:pPr>
            <a:r>
              <a:rPr lang="de-DE" sz="1800" b="0" dirty="0"/>
              <a:t>Tertiäre Armut = </a:t>
            </a:r>
            <a:r>
              <a:rPr lang="de-DE" sz="1800" dirty="0"/>
              <a:t>psychosoziale Folgeeffekte </a:t>
            </a:r>
            <a:r>
              <a:rPr lang="de-DE" sz="1800" b="0" dirty="0"/>
              <a:t>von Armut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>
              <a:lnSpc>
                <a:spcPct val="100000"/>
              </a:lnSpc>
              <a:spcAft>
                <a:spcPts val="800"/>
              </a:spcAft>
            </a:pPr>
            <a:endParaRPr lang="de-DE" sz="1800" b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6</a:t>
            </a:fld>
            <a:r>
              <a:rPr lang="de-DE"/>
              <a:t> </a:t>
            </a:r>
            <a:endParaRPr lang="de-DE" dirty="0"/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3619FDC4-1BF6-B097-17F0-8CDB5C09B2C6}"/>
              </a:ext>
            </a:extLst>
          </p:cNvPr>
          <p:cNvCxnSpPr/>
          <p:nvPr/>
        </p:nvCxnSpPr>
        <p:spPr>
          <a:xfrm>
            <a:off x="468738" y="2715766"/>
            <a:ext cx="8207718" cy="0"/>
          </a:xfrm>
          <a:prstGeom prst="line">
            <a:avLst/>
          </a:prstGeom>
          <a:ln>
            <a:solidFill>
              <a:schemeClr val="tx2"/>
            </a:solidFill>
            <a:prstDash val="lg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>
            <a:extLst>
              <a:ext uri="{FF2B5EF4-FFF2-40B4-BE49-F238E27FC236}">
                <a16:creationId xmlns:a16="http://schemas.microsoft.com/office/drawing/2014/main" id="{595DAB94-1A7C-345A-3C15-B6477E05F178}"/>
              </a:ext>
            </a:extLst>
          </p:cNvPr>
          <p:cNvSpPr/>
          <p:nvPr/>
        </p:nvSpPr>
        <p:spPr>
          <a:xfrm>
            <a:off x="3239852" y="2715766"/>
            <a:ext cx="2664296" cy="21602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Andere Art der Unterteilung</a:t>
            </a:r>
          </a:p>
        </p:txBody>
      </p:sp>
    </p:spTree>
    <p:extLst>
      <p:ext uri="{BB962C8B-B14F-4D97-AF65-F5344CB8AC3E}">
        <p14:creationId xmlns:p14="http://schemas.microsoft.com/office/powerpoint/2010/main" val="10506401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738" y="121117"/>
            <a:ext cx="7560000" cy="468000"/>
          </a:xfrm>
        </p:spPr>
        <p:txBody>
          <a:bodyPr/>
          <a:lstStyle/>
          <a:p>
            <a:r>
              <a:rPr lang="de-DE" dirty="0"/>
              <a:t>Armut: Konzept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2768" y="589116"/>
            <a:ext cx="8829752" cy="4070865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800" dirty="0"/>
              <a:t>Bildungsarmut </a:t>
            </a:r>
            <a:r>
              <a:rPr lang="de-DE" sz="1800" dirty="0">
                <a:highlight>
                  <a:srgbClr val="FFFF00"/>
                </a:highlight>
              </a:rPr>
              <a:t>DEF</a:t>
            </a:r>
            <a:r>
              <a:rPr lang="de-DE" sz="1800" dirty="0"/>
              <a:t> =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dirty="0"/>
              <a:t>Ausprägung</a:t>
            </a:r>
            <a:r>
              <a:rPr lang="de-DE" sz="1800" b="0" dirty="0"/>
              <a:t> der </a:t>
            </a:r>
            <a:r>
              <a:rPr lang="de-DE" sz="1800" dirty="0"/>
              <a:t>eigenen Bildungsressourcen</a:t>
            </a:r>
            <a:endParaRPr lang="de-DE" sz="1800" b="0" dirty="0"/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Ursache von Einkommensarmut &amp; Ressourcenarmut</a:t>
            </a:r>
          </a:p>
          <a:p>
            <a:pPr>
              <a:lnSpc>
                <a:spcPct val="100000"/>
              </a:lnSpc>
              <a:spcAft>
                <a:spcPts val="800"/>
              </a:spcAft>
            </a:pPr>
            <a:endParaRPr lang="de-DE" sz="1800" dirty="0"/>
          </a:p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800" dirty="0">
                <a:solidFill>
                  <a:schemeClr val="accent2"/>
                </a:solidFill>
              </a:rPr>
              <a:t>1)  Absolute</a:t>
            </a:r>
            <a:r>
              <a:rPr lang="de-DE" sz="1800" b="0" dirty="0"/>
              <a:t> Bildungsarmut </a:t>
            </a:r>
            <a:r>
              <a:rPr lang="de-DE" sz="1800" dirty="0"/>
              <a:t> </a:t>
            </a:r>
          </a:p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800" b="0" dirty="0"/>
              <a:t>     = funktionaler </a:t>
            </a:r>
            <a:r>
              <a:rPr lang="de-DE" sz="1800" dirty="0"/>
              <a:t>Analphabetismus</a:t>
            </a:r>
            <a:r>
              <a:rPr lang="de-DE" sz="1800" b="0" dirty="0"/>
              <a:t> oder </a:t>
            </a:r>
            <a:r>
              <a:rPr lang="de-DE" sz="1800" dirty="0"/>
              <a:t>fehlender Schulabschluss</a:t>
            </a:r>
          </a:p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800" dirty="0">
                <a:solidFill>
                  <a:schemeClr val="accent2"/>
                </a:solidFill>
              </a:rPr>
              <a:t>2)  Relative </a:t>
            </a:r>
            <a:r>
              <a:rPr lang="de-DE" sz="1800" b="0" dirty="0"/>
              <a:t>Bildungsarmut</a:t>
            </a:r>
            <a:r>
              <a:rPr lang="de-DE" sz="1800" b="0" dirty="0">
                <a:solidFill>
                  <a:schemeClr val="accent2"/>
                </a:solidFill>
              </a:rPr>
              <a:t> </a:t>
            </a:r>
          </a:p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800" b="0" dirty="0">
                <a:solidFill>
                  <a:schemeClr val="accent2"/>
                </a:solidFill>
              </a:rPr>
              <a:t>     </a:t>
            </a:r>
            <a:r>
              <a:rPr lang="de-DE" sz="1800" b="0" dirty="0"/>
              <a:t>= unterm Mindestmaß </a:t>
            </a:r>
            <a:r>
              <a:rPr lang="de-DE" sz="1800" b="0" dirty="0">
                <a:sym typeface="Wingdings" panose="05000000000000000000" pitchFamily="2" charset="2"/>
              </a:rPr>
              <a:t> hier: </a:t>
            </a:r>
            <a:r>
              <a:rPr lang="de-DE" sz="1800" dirty="0">
                <a:sym typeface="Wingdings" panose="05000000000000000000" pitchFamily="2" charset="2"/>
              </a:rPr>
              <a:t>geringfügiger Bildungsabschlüsse</a:t>
            </a:r>
            <a:r>
              <a:rPr lang="de-DE" sz="1800" b="0" dirty="0">
                <a:sym typeface="Wingdings" panose="05000000000000000000" pitchFamily="2" charset="2"/>
              </a:rPr>
              <a:t> oder </a:t>
            </a:r>
            <a:r>
              <a:rPr lang="de-DE" sz="1800" dirty="0">
                <a:sym typeface="Wingdings" panose="05000000000000000000" pitchFamily="2" charset="2"/>
              </a:rPr>
              <a:t>deutlich </a:t>
            </a:r>
            <a:r>
              <a:rPr lang="de-DE" sz="1800" dirty="0">
                <a:solidFill>
                  <a:schemeClr val="bg1"/>
                </a:solidFill>
                <a:sym typeface="Wingdings" panose="05000000000000000000" pitchFamily="2" charset="2"/>
              </a:rPr>
              <a:t>.      …</a:t>
            </a:r>
            <a:r>
              <a:rPr lang="de-DE" sz="1800" dirty="0">
                <a:sym typeface="Wingdings" panose="05000000000000000000" pitchFamily="2" charset="2"/>
              </a:rPr>
              <a:t> unterdurchschnittliche Leistungen </a:t>
            </a:r>
            <a:r>
              <a:rPr lang="de-DE" sz="1800" b="0" dirty="0">
                <a:sym typeface="Wingdings" panose="05000000000000000000" pitchFamily="2" charset="2"/>
              </a:rPr>
              <a:t>( unterstes Bildungsquantil)</a:t>
            </a:r>
          </a:p>
          <a:p>
            <a:pPr>
              <a:lnSpc>
                <a:spcPct val="100000"/>
              </a:lnSpc>
              <a:spcAft>
                <a:spcPts val="800"/>
              </a:spcAft>
            </a:pPr>
            <a:endParaRPr lang="de-DE" sz="1800" b="0" dirty="0"/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Wingdings" panose="05000000000000000000" pitchFamily="2" charset="2"/>
              <a:buChar char="à"/>
            </a:pPr>
            <a:r>
              <a:rPr lang="de-DE" sz="1800" b="0" dirty="0">
                <a:sym typeface="Wingdings" panose="05000000000000000000" pitchFamily="2" charset="2"/>
              </a:rPr>
              <a:t>Auch </a:t>
            </a:r>
            <a:r>
              <a:rPr lang="de-DE" sz="1800" dirty="0">
                <a:sym typeface="Wingdings" panose="05000000000000000000" pitchFamily="2" charset="2"/>
              </a:rPr>
              <a:t>„Humankapitalschwäche“ </a:t>
            </a:r>
            <a:r>
              <a:rPr lang="de-DE" sz="1800" b="0" dirty="0">
                <a:sym typeface="Wingdings" panose="05000000000000000000" pitchFamily="2" charset="2"/>
              </a:rPr>
              <a:t>genannt 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7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28936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738" y="121117"/>
            <a:ext cx="7560000" cy="468000"/>
          </a:xfrm>
        </p:spPr>
        <p:txBody>
          <a:bodyPr/>
          <a:lstStyle/>
          <a:p>
            <a:r>
              <a:rPr lang="de-DE" dirty="0"/>
              <a:t>Armut: Da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7359" y="658735"/>
            <a:ext cx="8455121" cy="3829272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800" b="0" dirty="0">
                <a:solidFill>
                  <a:schemeClr val="accent2"/>
                </a:solidFill>
              </a:rPr>
              <a:t>Entwicklung</a:t>
            </a:r>
            <a:r>
              <a:rPr lang="de-DE" sz="1800" b="0" dirty="0"/>
              <a:t> von ‚neuer‘ Einkommensarmut</a:t>
            </a:r>
            <a:endParaRPr lang="de-DE" sz="1800" b="0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Messbar durch Datensätze wie Mikrozensus</a:t>
            </a:r>
            <a:endParaRPr lang="de-DE" sz="1800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dirty="0">
                <a:sym typeface="Wingdings" panose="05000000000000000000" pitchFamily="2" charset="2"/>
              </a:rPr>
              <a:t>Indikator</a:t>
            </a:r>
            <a:r>
              <a:rPr lang="de-DE" sz="1800" b="0" dirty="0">
                <a:sym typeface="Wingdings" panose="05000000000000000000" pitchFamily="2" charset="2"/>
              </a:rPr>
              <a:t> für Armutsentwicklung: </a:t>
            </a:r>
            <a:r>
              <a:rPr lang="de-DE" sz="1800" dirty="0">
                <a:sym typeface="Wingdings" panose="05000000000000000000" pitchFamily="2" charset="2"/>
              </a:rPr>
              <a:t>Empfänger</a:t>
            </a:r>
            <a:r>
              <a:rPr lang="de-DE" sz="1800" b="0" dirty="0">
                <a:sym typeface="Wingdings" panose="05000000000000000000" pitchFamily="2" charset="2"/>
              </a:rPr>
              <a:t> von </a:t>
            </a:r>
            <a:r>
              <a:rPr lang="de-DE" sz="1800" dirty="0">
                <a:sym typeface="Wingdings" panose="05000000000000000000" pitchFamily="2" charset="2"/>
              </a:rPr>
              <a:t>Sozialleistungen</a:t>
            </a:r>
          </a:p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Trends: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Viele Menschen nur </a:t>
            </a:r>
            <a:r>
              <a:rPr lang="de-DE" sz="1800" dirty="0">
                <a:sym typeface="Wingdings" panose="05000000000000000000" pitchFamily="2" charset="2"/>
              </a:rPr>
              <a:t>kurzzeitig von Armut </a:t>
            </a:r>
            <a:r>
              <a:rPr lang="de-DE" sz="1800" b="0" dirty="0">
                <a:sym typeface="Wingdings" panose="05000000000000000000" pitchFamily="2" charset="2"/>
              </a:rPr>
              <a:t>betroffen (temporäre Arbeitslosigkeit – nur 1 J.)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Zugleich verbreitet sich </a:t>
            </a:r>
            <a:r>
              <a:rPr lang="de-DE" sz="1800" dirty="0">
                <a:sym typeface="Wingdings" panose="05000000000000000000" pitchFamily="2" charset="2"/>
              </a:rPr>
              <a:t>Armut in höhere Schichten</a:t>
            </a:r>
            <a:r>
              <a:rPr lang="de-DE" sz="1800" b="0" dirty="0">
                <a:sym typeface="Wingdings" panose="05000000000000000000" pitchFamily="2" charset="2"/>
              </a:rPr>
              <a:t> (‚Abstiegsangst Mittelschicht‘)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Je </a:t>
            </a:r>
            <a:r>
              <a:rPr lang="de-DE" sz="1800" dirty="0">
                <a:sym typeface="Wingdings" panose="05000000000000000000" pitchFamily="2" charset="2"/>
              </a:rPr>
              <a:t>länger</a:t>
            </a:r>
            <a:r>
              <a:rPr lang="de-DE" sz="1800" b="0" dirty="0">
                <a:sym typeface="Wingdings" panose="05000000000000000000" pitchFamily="2" charset="2"/>
              </a:rPr>
              <a:t> Armutsepisode, desto mehr </a:t>
            </a:r>
            <a:r>
              <a:rPr lang="de-DE" sz="1800" dirty="0">
                <a:sym typeface="Wingdings" panose="05000000000000000000" pitchFamily="2" charset="2"/>
              </a:rPr>
              <a:t>Verfestigung</a:t>
            </a:r>
            <a:endParaRPr lang="de-DE" sz="1800" b="0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Zahlen: </a:t>
            </a:r>
            <a:r>
              <a:rPr lang="de-DE" sz="1800" dirty="0">
                <a:sym typeface="Wingdings" panose="05000000000000000000" pitchFamily="2" charset="2"/>
              </a:rPr>
              <a:t>fast jeder 5te </a:t>
            </a:r>
            <a:r>
              <a:rPr lang="de-DE" sz="1800" b="0" dirty="0">
                <a:sym typeface="Wingdings" panose="05000000000000000000" pitchFamily="2" charset="2"/>
              </a:rPr>
              <a:t>von Armut &amp; sozialer Ausgrenzung betroffen (2019)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8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5877842E-763D-D620-23F8-DAC8B8998CF6}"/>
              </a:ext>
            </a:extLst>
          </p:cNvPr>
          <p:cNvSpPr/>
          <p:nvPr/>
        </p:nvSpPr>
        <p:spPr>
          <a:xfrm>
            <a:off x="1908478" y="4257602"/>
            <a:ext cx="4680520" cy="3624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400" b="0" dirty="0">
                <a:sym typeface="Wingdings" panose="05000000000000000000" pitchFamily="2" charset="2"/>
              </a:rPr>
              <a:t>Fazit: Armut weit verbreiteter &amp; gefährlich wenn verfestigt</a:t>
            </a:r>
          </a:p>
        </p:txBody>
      </p:sp>
    </p:spTree>
    <p:extLst>
      <p:ext uri="{BB962C8B-B14F-4D97-AF65-F5344CB8AC3E}">
        <p14:creationId xmlns:p14="http://schemas.microsoft.com/office/powerpoint/2010/main" val="19446102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738" y="121117"/>
            <a:ext cx="7560000" cy="468000"/>
          </a:xfrm>
        </p:spPr>
        <p:txBody>
          <a:bodyPr/>
          <a:lstStyle/>
          <a:p>
            <a:r>
              <a:rPr lang="de-DE" dirty="0"/>
              <a:t>Armut: Da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1132" y="654832"/>
            <a:ext cx="9184565" cy="3829272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800" dirty="0">
                <a:solidFill>
                  <a:schemeClr val="accent2"/>
                </a:solidFill>
              </a:rPr>
              <a:t>Risikogruppen:</a:t>
            </a:r>
            <a:endParaRPr lang="de-DE" sz="1800" b="0" dirty="0"/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Arbeitslose (insbesondere Langzeitarbeitslose)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Geringqualifizierte (</a:t>
            </a:r>
            <a:r>
              <a:rPr lang="de-DE" sz="1800" b="0" dirty="0">
                <a:sym typeface="Wingdings" panose="05000000000000000000" pitchFamily="2" charset="2"/>
              </a:rPr>
              <a:t> Bildungsarmut)</a:t>
            </a:r>
            <a:endParaRPr lang="de-DE" sz="1800" b="0" dirty="0"/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Ausländer / Migrationshintergrund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Alleinerziehende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Kinderreiche Familien 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Witwen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…</a:t>
            </a:r>
            <a:endParaRPr lang="de-DE" sz="1800" dirty="0"/>
          </a:p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800" dirty="0">
                <a:sym typeface="Wingdings" panose="05000000000000000000" pitchFamily="2" charset="2"/>
              </a:rPr>
              <a:t> Deckt sich mit Risikogruppen im </a:t>
            </a:r>
            <a:r>
              <a:rPr lang="de-DE" sz="1600" b="0" dirty="0">
                <a:sym typeface="Wingdings" panose="05000000000000000000" pitchFamily="2" charset="2"/>
              </a:rPr>
              <a:t>Bildungssystem/ Arbeitsmarkt/sozialer Ungleichheit</a:t>
            </a:r>
            <a:endParaRPr lang="de-DE" sz="1600" b="0" dirty="0"/>
          </a:p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800" dirty="0">
                <a:sym typeface="Wingdings" panose="05000000000000000000" pitchFamily="2" charset="2"/>
              </a:rPr>
              <a:t> </a:t>
            </a:r>
            <a:r>
              <a:rPr lang="de-DE" sz="1800" b="0" dirty="0">
                <a:sym typeface="Wingdings" panose="05000000000000000000" pitchFamily="2" charset="2"/>
              </a:rPr>
              <a:t>Bildungsarmut</a:t>
            </a:r>
            <a:r>
              <a:rPr lang="de-DE" sz="1800" dirty="0">
                <a:sym typeface="Wingdings" panose="05000000000000000000" pitchFamily="2" charset="2"/>
              </a:rPr>
              <a:t> führt vermehrt </a:t>
            </a:r>
            <a:r>
              <a:rPr lang="de-DE" sz="1800" b="0" dirty="0">
                <a:sym typeface="Wingdings" panose="05000000000000000000" pitchFamily="2" charset="2"/>
              </a:rPr>
              <a:t>zur</a:t>
            </a:r>
            <a:r>
              <a:rPr lang="de-DE" sz="1800" dirty="0">
                <a:sym typeface="Wingdings" panose="05000000000000000000" pitchFamily="2" charset="2"/>
              </a:rPr>
              <a:t> Einkommensarmut &amp; Ressourcenarmut</a:t>
            </a:r>
            <a:endParaRPr lang="de-DE" sz="18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9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705DA2D-324F-629A-1E24-27E63153F26F}"/>
              </a:ext>
            </a:extLst>
          </p:cNvPr>
          <p:cNvSpPr/>
          <p:nvPr/>
        </p:nvSpPr>
        <p:spPr>
          <a:xfrm>
            <a:off x="5899168" y="2653826"/>
            <a:ext cx="2520280" cy="57606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/>
              <a:t>Zusammenhang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C3721BDA-08ED-CBD0-DAC3-6A7FFF4576C5}"/>
              </a:ext>
            </a:extLst>
          </p:cNvPr>
          <p:cNvCxnSpPr>
            <a:cxnSpLocks/>
          </p:cNvCxnSpPr>
          <p:nvPr/>
        </p:nvCxnSpPr>
        <p:spPr>
          <a:xfrm flipH="1">
            <a:off x="6132588" y="3381612"/>
            <a:ext cx="792319" cy="648072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5E398439-5EDA-60F2-E4C2-9E766135523F}"/>
              </a:ext>
            </a:extLst>
          </p:cNvPr>
          <p:cNvCxnSpPr>
            <a:cxnSpLocks/>
          </p:cNvCxnSpPr>
          <p:nvPr/>
        </p:nvCxnSpPr>
        <p:spPr>
          <a:xfrm>
            <a:off x="7305991" y="3381612"/>
            <a:ext cx="645677" cy="648072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3F375DAE-545B-E479-4D2C-33C28D744E01}"/>
              </a:ext>
            </a:extLst>
          </p:cNvPr>
          <p:cNvCxnSpPr>
            <a:cxnSpLocks/>
          </p:cNvCxnSpPr>
          <p:nvPr/>
        </p:nvCxnSpPr>
        <p:spPr>
          <a:xfrm flipH="1">
            <a:off x="1838009" y="3320325"/>
            <a:ext cx="4668590" cy="744147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49921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dcae5b4-0b45-41e0-b5e6-32c713f6a487"/>
  <p:tag name="MIO_EKGUID" val="d6d8f022-aea9-4976-9c74-231287008c88"/>
  <p:tag name="MIO_UPDATE" val="True"/>
  <p:tag name="MIO_VERSION" val="26.10.2018 15:45:09"/>
  <p:tag name="MIO_DBID" val="364BA404-45B5-45E1-875B-889C83467CBF"/>
  <p:tag name="MIO_LASTDOWNLOADED" val="26.10.2018 15:45:09"/>
  <p:tag name="MIO_OBJECTNAME" val="ADAPTION – Migration zum Cyber-physischen PRODUKTIONSSYSTEM"/>
  <p:tag name="MIO_LASTEDITORNAME" val="Stefan Leineweber"/>
  <p:tag name="MIO_STRING_IGNORE_CHECKSUM_FOR_NEXT_SAVE" val="Fal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heme/theme1.xml><?xml version="1.0" encoding="utf-8"?>
<a:theme xmlns:a="http://schemas.openxmlformats.org/drawingml/2006/main" name="PowerPoint Master RUB">
  <a:themeElements>
    <a:clrScheme name="RUB">
      <a:dk1>
        <a:sysClr val="windowText" lastClr="000000"/>
      </a:dk1>
      <a:lt1>
        <a:sysClr val="window" lastClr="FFFFFF"/>
      </a:lt1>
      <a:dk2>
        <a:srgbClr val="003560"/>
      </a:dk2>
      <a:lt2>
        <a:srgbClr val="8DAE10"/>
      </a:lt2>
      <a:accent1>
        <a:srgbClr val="FFCC00"/>
      </a:accent1>
      <a:accent2>
        <a:srgbClr val="EE7203"/>
      </a:accent2>
      <a:accent3>
        <a:srgbClr val="E6332A"/>
      </a:accent3>
      <a:accent4>
        <a:srgbClr val="B71E3F"/>
      </a:accent4>
      <a:accent5>
        <a:srgbClr val="9C5516"/>
      </a:accent5>
      <a:accent6>
        <a:srgbClr val="59211C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PT_RUB_03a.potx" id="{C867D821-36E8-4CDA-B68D-4949E463F39D}" vid="{F84F8B3F-9528-42A9-B5AE-3004D5414502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89</Words>
  <Application>Microsoft Office PowerPoint</Application>
  <PresentationFormat>Bildschirmpräsentation (16:9)</PresentationFormat>
  <Paragraphs>154</Paragraphs>
  <Slides>13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19" baseType="lpstr">
      <vt:lpstr>-apple-system</vt:lpstr>
      <vt:lpstr>Arial</vt:lpstr>
      <vt:lpstr>Calibri</vt:lpstr>
      <vt:lpstr>Calibri-Bold</vt:lpstr>
      <vt:lpstr>Wingdings</vt:lpstr>
      <vt:lpstr>PowerPoint Master RUB</vt:lpstr>
      <vt:lpstr>Tutorium zur VL. Sitzung (Teil 18) </vt:lpstr>
      <vt:lpstr>Armut: Definition</vt:lpstr>
      <vt:lpstr>Armut: Definition</vt:lpstr>
      <vt:lpstr>Armut: Definition</vt:lpstr>
      <vt:lpstr>Armut: Definition</vt:lpstr>
      <vt:lpstr>Armut: Konzepte</vt:lpstr>
      <vt:lpstr>Armut: Konzepte</vt:lpstr>
      <vt:lpstr>Armut: Daten</vt:lpstr>
      <vt:lpstr>Armut: Daten</vt:lpstr>
      <vt:lpstr>Armut: Begleiterscheinungen</vt:lpstr>
      <vt:lpstr>Lernziele: vierzehnte Sitzung </vt:lpstr>
      <vt:lpstr>Ausblick: nächste Sitzung </vt:lpstr>
      <vt:lpstr>Armut: Sichtweisen auf Armut -Ergänzung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ster Sozialwissenschaft</dc:title>
  <dc:creator>vanessa rau</dc:creator>
  <cp:lastModifiedBy>Stina Ru</cp:lastModifiedBy>
  <cp:revision>73</cp:revision>
  <cp:lastPrinted>2022-05-08T18:17:36Z</cp:lastPrinted>
  <dcterms:created xsi:type="dcterms:W3CDTF">2020-06-22T16:14:58Z</dcterms:created>
  <dcterms:modified xsi:type="dcterms:W3CDTF">2023-02-02T17:21:06Z</dcterms:modified>
</cp:coreProperties>
</file>